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 id="2147483670" r:id="rId5"/>
    <p:sldMasterId id="2147483699" r:id="rId6"/>
    <p:sldMasterId id="2147483682" r:id="rId7"/>
  </p:sldMasterIdLst>
  <p:notesMasterIdLst>
    <p:notesMasterId r:id="rId25"/>
  </p:notesMasterIdLst>
  <p:handoutMasterIdLst>
    <p:handoutMasterId r:id="rId26"/>
  </p:handoutMasterIdLst>
  <p:sldIdLst>
    <p:sldId id="274" r:id="rId8"/>
    <p:sldId id="343" r:id="rId9"/>
    <p:sldId id="344" r:id="rId10"/>
    <p:sldId id="342" r:id="rId11"/>
    <p:sldId id="337" r:id="rId12"/>
    <p:sldId id="336" r:id="rId13"/>
    <p:sldId id="368" r:id="rId14"/>
    <p:sldId id="364" r:id="rId15"/>
    <p:sldId id="353" r:id="rId16"/>
    <p:sldId id="365" r:id="rId17"/>
    <p:sldId id="366" r:id="rId18"/>
    <p:sldId id="359" r:id="rId19"/>
    <p:sldId id="367" r:id="rId20"/>
    <p:sldId id="349" r:id="rId21"/>
    <p:sldId id="360" r:id="rId22"/>
    <p:sldId id="335" r:id="rId23"/>
    <p:sldId id="309" r:id="rId24"/>
  </p:sldIdLst>
  <p:sldSz cx="12192000" cy="6858000"/>
  <p:notesSz cx="6858000" cy="9144000"/>
  <p:embeddedFontLst>
    <p:embeddedFont>
      <p:font typeface="Calibri" panose="020F0502020204030204" pitchFamily="34" charset="0"/>
      <p:regular r:id="rId27"/>
      <p:bold r:id="rId28"/>
      <p:italic r:id="rId29"/>
      <p:boldItalic r:id="rId30"/>
    </p:embeddedFont>
    <p:embeddedFont>
      <p:font typeface="Mylius Modern" panose="020B0504020202020204" pitchFamily="34" charset="0"/>
      <p:regular r:id="rId31"/>
      <p:bold r:id="rId32"/>
    </p:embeddedFont>
    <p:embeddedFont>
      <p:font typeface="Mylius Modern Extra Light" panose="020B0204020202020204" pitchFamily="34" charset="0"/>
      <p:regular r:id="rId33"/>
    </p:embeddedFont>
    <p:embeddedFont>
      <p:font typeface="Mylius Modern Light" panose="020B0304020202020204" pitchFamily="34" charset="0"/>
      <p:regular r:id="rId3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F07013F-AE0C-FF27-2373-49081E72BAEC}" name="Jamie Scragg" initials="JS" userId="S::jamie.scragg@ba.com::78393e63-83b5-46e1-9b95-06d8847ad779" providerId="AD"/>
  <p188:author id="{086587ED-536A-4623-D2D2-B4994003A390}" name="George Daish" initials="GD" userId="S::george.daish@ba.com::0bdcf7b5-cff9-4b38-bda9-e3bf90847f0a"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F9613"/>
    <a:srgbClr val="C67D84"/>
    <a:srgbClr val="E37A76"/>
    <a:srgbClr val="085574"/>
    <a:srgbClr val="0B5574"/>
    <a:srgbClr val="5F899E"/>
    <a:srgbClr val="9B6E75"/>
    <a:srgbClr val="826A74"/>
    <a:srgbClr val="445F75"/>
    <a:srgbClr val="FBE5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86DFAD-338E-875B-6C05-F5777216B68E}" v="168" dt="2023-11-08T10:55:54.750"/>
    <p1510:client id="{4BA6BFEB-77AB-A05A-C8F8-14A5C5615323}" v="75" dt="2023-11-08T14:14:17.599"/>
    <p1510:client id="{834AC890-3824-4AD7-9EA9-19F98B9B7D57}" v="4690" dt="2023-11-08T14:35:41.230"/>
    <p1510:client id="{C0B6EE06-DD10-DF85-4CA7-CF77F0C4FD2B}" v="486" dt="2023-11-07T17:55:34.646"/>
    <p1510:client id="{E48C92D1-3972-64A3-3E7A-9C6154163F46}" v="769" dt="2023-11-08T13:07:08.013"/>
    <p1510:client id="{F3E26095-6852-42F4-9C59-092D7B945D71}" v="7159" dt="2023-11-08T14:35:45.2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56" autoAdjust="0"/>
    <p:restoredTop sz="67210" autoAdjust="0"/>
  </p:normalViewPr>
  <p:slideViewPr>
    <p:cSldViewPr snapToGrid="0">
      <p:cViewPr>
        <p:scale>
          <a:sx n="70" d="100"/>
          <a:sy n="70" d="100"/>
        </p:scale>
        <p:origin x="972" y="6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handoutMaster" Target="handoutMasters/handoutMaster1.xml"/><Relationship Id="rId39" Type="http://schemas.microsoft.com/office/2016/11/relationships/changesInfo" Target="changesInfos/changesInfo1.xml"/><Relationship Id="rId21" Type="http://schemas.openxmlformats.org/officeDocument/2006/relationships/slide" Target="slides/slide14.xml"/><Relationship Id="rId34" Type="http://schemas.openxmlformats.org/officeDocument/2006/relationships/font" Target="fonts/font8.fntdata"/><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font" Target="fonts/font3.fntdata"/><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font" Target="fonts/font6.fntdata"/><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font" Target="fonts/font2.fntdata"/><Relationship Id="rId36"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5.fntdata"/><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presProps" Target="presProp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notesMaster" Target="notesMasters/notesMaster1.xml"/><Relationship Id="rId33" Type="http://schemas.openxmlformats.org/officeDocument/2006/relationships/font" Target="fonts/font7.fntdata"/><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mie Scragg" userId="78393e63-83b5-46e1-9b95-06d8847ad779" providerId="ADAL" clId="{F3E26095-6852-42F4-9C59-092D7B945D71}"/>
    <pc:docChg chg="undo redo custSel addSld delSld modSld sldOrd addMainMaster delMainMaster modMainMaster">
      <pc:chgData name="Jamie Scragg" userId="78393e63-83b5-46e1-9b95-06d8847ad779" providerId="ADAL" clId="{F3E26095-6852-42F4-9C59-092D7B945D71}" dt="2023-11-08T14:35:45.224" v="8967" actId="20577"/>
      <pc:docMkLst>
        <pc:docMk/>
      </pc:docMkLst>
      <pc:sldChg chg="addSp delSp modSp mod modNotesTx">
        <pc:chgData name="Jamie Scragg" userId="78393e63-83b5-46e1-9b95-06d8847ad779" providerId="ADAL" clId="{F3E26095-6852-42F4-9C59-092D7B945D71}" dt="2023-11-08T13:51:57.623" v="6242" actId="20577"/>
        <pc:sldMkLst>
          <pc:docMk/>
          <pc:sldMk cId="2884869841" sldId="274"/>
        </pc:sldMkLst>
        <pc:spChg chg="mod">
          <ac:chgData name="Jamie Scragg" userId="78393e63-83b5-46e1-9b95-06d8847ad779" providerId="ADAL" clId="{F3E26095-6852-42F4-9C59-092D7B945D71}" dt="2023-11-03T14:03:25.493" v="351" actId="404"/>
          <ac:spMkLst>
            <pc:docMk/>
            <pc:sldMk cId="2884869841" sldId="274"/>
            <ac:spMk id="2" creationId="{2F824667-FFA7-FEB4-F23E-F19690098D7A}"/>
          </ac:spMkLst>
        </pc:spChg>
        <pc:spChg chg="mod">
          <ac:chgData name="Jamie Scragg" userId="78393e63-83b5-46e1-9b95-06d8847ad779" providerId="ADAL" clId="{F3E26095-6852-42F4-9C59-092D7B945D71}" dt="2023-11-03T14:01:15.983" v="329" actId="20577"/>
          <ac:spMkLst>
            <pc:docMk/>
            <pc:sldMk cId="2884869841" sldId="274"/>
            <ac:spMk id="3" creationId="{F0CDD5DC-1F36-2686-462E-4ABAD546CB4A}"/>
          </ac:spMkLst>
        </pc:spChg>
        <pc:spChg chg="mod">
          <ac:chgData name="Jamie Scragg" userId="78393e63-83b5-46e1-9b95-06d8847ad779" providerId="ADAL" clId="{F3E26095-6852-42F4-9C59-092D7B945D71}" dt="2023-11-08T11:15:47.045" v="4107" actId="20577"/>
          <ac:spMkLst>
            <pc:docMk/>
            <pc:sldMk cId="2884869841" sldId="274"/>
            <ac:spMk id="4" creationId="{77182BFB-C1F4-0D35-760F-8863062E186F}"/>
          </ac:spMkLst>
        </pc:spChg>
        <pc:spChg chg="add del">
          <ac:chgData name="Jamie Scragg" userId="78393e63-83b5-46e1-9b95-06d8847ad779" providerId="ADAL" clId="{F3E26095-6852-42F4-9C59-092D7B945D71}" dt="2023-11-03T14:03:48.665" v="352" actId="478"/>
          <ac:spMkLst>
            <pc:docMk/>
            <pc:sldMk cId="2884869841" sldId="274"/>
            <ac:spMk id="5" creationId="{6D5E62CC-6CEB-7D68-C91E-FC4743B1A0C4}"/>
          </ac:spMkLst>
        </pc:spChg>
        <pc:spChg chg="del">
          <ac:chgData name="Jamie Scragg" userId="78393e63-83b5-46e1-9b95-06d8847ad779" providerId="ADAL" clId="{F3E26095-6852-42F4-9C59-092D7B945D71}" dt="2023-11-03T14:03:51.295" v="353" actId="478"/>
          <ac:spMkLst>
            <pc:docMk/>
            <pc:sldMk cId="2884869841" sldId="274"/>
            <ac:spMk id="6" creationId="{61118E71-102C-7B46-76AD-9EE2038F8E54}"/>
          </ac:spMkLst>
        </pc:spChg>
      </pc:sldChg>
      <pc:sldChg chg="modNotesTx">
        <pc:chgData name="Jamie Scragg" userId="78393e63-83b5-46e1-9b95-06d8847ad779" providerId="ADAL" clId="{F3E26095-6852-42F4-9C59-092D7B945D71}" dt="2023-11-08T11:59:42.827" v="5349" actId="20577"/>
        <pc:sldMkLst>
          <pc:docMk/>
          <pc:sldMk cId="2262659231" sldId="309"/>
        </pc:sldMkLst>
      </pc:sldChg>
      <pc:sldChg chg="addSp modSp mod modNotesTx">
        <pc:chgData name="Jamie Scragg" userId="78393e63-83b5-46e1-9b95-06d8847ad779" providerId="ADAL" clId="{F3E26095-6852-42F4-9C59-092D7B945D71}" dt="2023-11-08T11:59:37.904" v="5338" actId="20577"/>
        <pc:sldMkLst>
          <pc:docMk/>
          <pc:sldMk cId="79678829" sldId="335"/>
        </pc:sldMkLst>
        <pc:spChg chg="add mod">
          <ac:chgData name="Jamie Scragg" userId="78393e63-83b5-46e1-9b95-06d8847ad779" providerId="ADAL" clId="{F3E26095-6852-42F4-9C59-092D7B945D71}" dt="2023-11-06T17:36:02.507" v="1118" actId="1076"/>
          <ac:spMkLst>
            <pc:docMk/>
            <pc:sldMk cId="79678829" sldId="335"/>
            <ac:spMk id="16" creationId="{E4250A28-5DEF-5035-0C1B-B3214A897AF0}"/>
          </ac:spMkLst>
        </pc:spChg>
      </pc:sldChg>
      <pc:sldChg chg="addSp delSp modSp new mod ord modClrScheme chgLayout modNotesTx">
        <pc:chgData name="Jamie Scragg" userId="78393e63-83b5-46e1-9b95-06d8847ad779" providerId="ADAL" clId="{F3E26095-6852-42F4-9C59-092D7B945D71}" dt="2023-11-08T11:56:19.951" v="5300" actId="20577"/>
        <pc:sldMkLst>
          <pc:docMk/>
          <pc:sldMk cId="380097703" sldId="336"/>
        </pc:sldMkLst>
        <pc:spChg chg="del mod">
          <ac:chgData name="Jamie Scragg" userId="78393e63-83b5-46e1-9b95-06d8847ad779" providerId="ADAL" clId="{F3E26095-6852-42F4-9C59-092D7B945D71}" dt="2023-11-08T11:07:39.912" v="3753" actId="478"/>
          <ac:spMkLst>
            <pc:docMk/>
            <pc:sldMk cId="380097703" sldId="336"/>
            <ac:spMk id="2" creationId="{1893F32D-D424-A865-C903-FBA424715EFB}"/>
          </ac:spMkLst>
        </pc:spChg>
        <pc:spChg chg="mod">
          <ac:chgData name="Jamie Scragg" userId="78393e63-83b5-46e1-9b95-06d8847ad779" providerId="ADAL" clId="{F3E26095-6852-42F4-9C59-092D7B945D71}" dt="2023-11-08T11:16:10.048" v="4130" actId="20577"/>
          <ac:spMkLst>
            <pc:docMk/>
            <pc:sldMk cId="380097703" sldId="336"/>
            <ac:spMk id="3" creationId="{AEE8177A-4EB4-E86A-5583-D00704DDFC44}"/>
          </ac:spMkLst>
        </pc:spChg>
        <pc:spChg chg="add del mod">
          <ac:chgData name="Jamie Scragg" userId="78393e63-83b5-46e1-9b95-06d8847ad779" providerId="ADAL" clId="{F3E26095-6852-42F4-9C59-092D7B945D71}" dt="2023-11-08T11:07:41.796" v="3754" actId="478"/>
          <ac:spMkLst>
            <pc:docMk/>
            <pc:sldMk cId="380097703" sldId="336"/>
            <ac:spMk id="6" creationId="{41449900-F179-CBEF-53BA-35C49FC0DC8C}"/>
          </ac:spMkLst>
        </pc:spChg>
        <pc:spChg chg="add del mod">
          <ac:chgData name="Jamie Scragg" userId="78393e63-83b5-46e1-9b95-06d8847ad779" providerId="ADAL" clId="{F3E26095-6852-42F4-9C59-092D7B945D71}" dt="2023-11-08T11:09:03.883" v="3761" actId="478"/>
          <ac:spMkLst>
            <pc:docMk/>
            <pc:sldMk cId="380097703" sldId="336"/>
            <ac:spMk id="8" creationId="{616E5E0A-F382-FCA3-A744-0CF5170B4E4D}"/>
          </ac:spMkLst>
        </pc:spChg>
        <pc:graphicFrameChg chg="add mod modGraphic">
          <ac:chgData name="Jamie Scragg" userId="78393e63-83b5-46e1-9b95-06d8847ad779" providerId="ADAL" clId="{F3E26095-6852-42F4-9C59-092D7B945D71}" dt="2023-11-06T15:22:49.104" v="817" actId="14734"/>
          <ac:graphicFrameMkLst>
            <pc:docMk/>
            <pc:sldMk cId="380097703" sldId="336"/>
            <ac:graphicFrameMk id="4" creationId="{03E720E6-7D21-B7A4-1A8C-AFF52322717B}"/>
          </ac:graphicFrameMkLst>
        </pc:graphicFrameChg>
        <pc:graphicFrameChg chg="add mod modGraphic">
          <ac:chgData name="Jamie Scragg" userId="78393e63-83b5-46e1-9b95-06d8847ad779" providerId="ADAL" clId="{F3E26095-6852-42F4-9C59-092D7B945D71}" dt="2023-11-08T11:14:11.701" v="4001" actId="20577"/>
          <ac:graphicFrameMkLst>
            <pc:docMk/>
            <pc:sldMk cId="380097703" sldId="336"/>
            <ac:graphicFrameMk id="7" creationId="{3C7159B7-7C5C-50B8-D4FC-A81AA67C9A20}"/>
          </ac:graphicFrameMkLst>
        </pc:graphicFrameChg>
      </pc:sldChg>
      <pc:sldChg chg="delSp modSp mod modNotesTx">
        <pc:chgData name="Jamie Scragg" userId="78393e63-83b5-46e1-9b95-06d8847ad779" providerId="ADAL" clId="{F3E26095-6852-42F4-9C59-092D7B945D71}" dt="2023-11-08T14:05:46.628" v="6879" actId="20577"/>
        <pc:sldMkLst>
          <pc:docMk/>
          <pc:sldMk cId="4002206678" sldId="337"/>
        </pc:sldMkLst>
        <pc:spChg chg="mod">
          <ac:chgData name="Jamie Scragg" userId="78393e63-83b5-46e1-9b95-06d8847ad779" providerId="ADAL" clId="{F3E26095-6852-42F4-9C59-092D7B945D71}" dt="2023-11-08T09:39:30.141" v="2266" actId="20577"/>
          <ac:spMkLst>
            <pc:docMk/>
            <pc:sldMk cId="4002206678" sldId="337"/>
            <ac:spMk id="2" creationId="{796505FB-8EB9-E8AE-CB9E-6A1C1D1E99ED}"/>
          </ac:spMkLst>
        </pc:spChg>
        <pc:spChg chg="del">
          <ac:chgData name="Jamie Scragg" userId="78393e63-83b5-46e1-9b95-06d8847ad779" providerId="ADAL" clId="{F3E26095-6852-42F4-9C59-092D7B945D71}" dt="2023-11-08T11:15:56.479" v="4108" actId="478"/>
          <ac:spMkLst>
            <pc:docMk/>
            <pc:sldMk cId="4002206678" sldId="337"/>
            <ac:spMk id="3" creationId="{1E2D5003-E176-AFE6-2291-C0E695DDF099}"/>
          </ac:spMkLst>
        </pc:spChg>
      </pc:sldChg>
      <pc:sldChg chg="del">
        <pc:chgData name="Jamie Scragg" userId="78393e63-83b5-46e1-9b95-06d8847ad779" providerId="ADAL" clId="{F3E26095-6852-42F4-9C59-092D7B945D71}" dt="2023-11-08T09:32:05.864" v="1875" actId="2696"/>
        <pc:sldMkLst>
          <pc:docMk/>
          <pc:sldMk cId="1324413061" sldId="339"/>
        </pc:sldMkLst>
      </pc:sldChg>
      <pc:sldChg chg="modSp del mod">
        <pc:chgData name="Jamie Scragg" userId="78393e63-83b5-46e1-9b95-06d8847ad779" providerId="ADAL" clId="{F3E26095-6852-42F4-9C59-092D7B945D71}" dt="2023-11-08T09:33:22.068" v="2070" actId="2696"/>
        <pc:sldMkLst>
          <pc:docMk/>
          <pc:sldMk cId="3985118271" sldId="340"/>
        </pc:sldMkLst>
        <pc:picChg chg="mod">
          <ac:chgData name="Jamie Scragg" userId="78393e63-83b5-46e1-9b95-06d8847ad779" providerId="ADAL" clId="{F3E26095-6852-42F4-9C59-092D7B945D71}" dt="2023-11-06T14:00:52.181" v="768" actId="1076"/>
          <ac:picMkLst>
            <pc:docMk/>
            <pc:sldMk cId="3985118271" sldId="340"/>
            <ac:picMk id="11" creationId="{8A77CC85-F0AD-7155-29C4-894F52090AF8}"/>
          </ac:picMkLst>
        </pc:picChg>
      </pc:sldChg>
      <pc:sldChg chg="modSp mod ord modNotesTx">
        <pc:chgData name="Jamie Scragg" userId="78393e63-83b5-46e1-9b95-06d8847ad779" providerId="ADAL" clId="{F3E26095-6852-42F4-9C59-092D7B945D71}" dt="2023-11-08T14:14:39.425" v="8807" actId="20577"/>
        <pc:sldMkLst>
          <pc:docMk/>
          <pc:sldMk cId="643536664" sldId="342"/>
        </pc:sldMkLst>
        <pc:spChg chg="mod">
          <ac:chgData name="Jamie Scragg" userId="78393e63-83b5-46e1-9b95-06d8847ad779" providerId="ADAL" clId="{F3E26095-6852-42F4-9C59-092D7B945D71}" dt="2023-11-08T13:55:01.922" v="6532" actId="20577"/>
          <ac:spMkLst>
            <pc:docMk/>
            <pc:sldMk cId="643536664" sldId="342"/>
            <ac:spMk id="2" creationId="{1F2FC7D5-0FB7-60EC-8191-631D1454D3D6}"/>
          </ac:spMkLst>
        </pc:spChg>
        <pc:spChg chg="mod">
          <ac:chgData name="Jamie Scragg" userId="78393e63-83b5-46e1-9b95-06d8847ad779" providerId="ADAL" clId="{F3E26095-6852-42F4-9C59-092D7B945D71}" dt="2023-11-08T13:55:49.494" v="6654" actId="20577"/>
          <ac:spMkLst>
            <pc:docMk/>
            <pc:sldMk cId="643536664" sldId="342"/>
            <ac:spMk id="3" creationId="{A236BAFD-D543-3317-0CE4-9309F42BBA28}"/>
          </ac:spMkLst>
        </pc:spChg>
        <pc:spChg chg="mod">
          <ac:chgData name="Jamie Scragg" userId="78393e63-83b5-46e1-9b95-06d8847ad779" providerId="ADAL" clId="{F3E26095-6852-42F4-9C59-092D7B945D71}" dt="2023-11-08T14:10:40.903" v="7916" actId="20577"/>
          <ac:spMkLst>
            <pc:docMk/>
            <pc:sldMk cId="643536664" sldId="342"/>
            <ac:spMk id="4" creationId="{532F815F-0D1F-2B88-13E1-165CB045F3AC}"/>
          </ac:spMkLst>
        </pc:spChg>
        <pc:spChg chg="mod">
          <ac:chgData name="Jamie Scragg" userId="78393e63-83b5-46e1-9b95-06d8847ad779" providerId="ADAL" clId="{F3E26095-6852-42F4-9C59-092D7B945D71}" dt="2023-11-08T14:12:14.549" v="8287" actId="20577"/>
          <ac:spMkLst>
            <pc:docMk/>
            <pc:sldMk cId="643536664" sldId="342"/>
            <ac:spMk id="5" creationId="{AD70B319-9E45-4D59-08BD-0BEFCF1D85A0}"/>
          </ac:spMkLst>
        </pc:spChg>
      </pc:sldChg>
      <pc:sldChg chg="addSp delSp modSp mod modNotesTx">
        <pc:chgData name="Jamie Scragg" userId="78393e63-83b5-46e1-9b95-06d8847ad779" providerId="ADAL" clId="{F3E26095-6852-42F4-9C59-092D7B945D71}" dt="2023-11-08T14:25:17.119" v="8937" actId="20577"/>
        <pc:sldMkLst>
          <pc:docMk/>
          <pc:sldMk cId="2201796890" sldId="343"/>
        </pc:sldMkLst>
        <pc:spChg chg="mod">
          <ac:chgData name="Jamie Scragg" userId="78393e63-83b5-46e1-9b95-06d8847ad779" providerId="ADAL" clId="{F3E26095-6852-42F4-9C59-092D7B945D71}" dt="2023-11-06T15:51:29.658" v="888" actId="20577"/>
          <ac:spMkLst>
            <pc:docMk/>
            <pc:sldMk cId="2201796890" sldId="343"/>
            <ac:spMk id="2" creationId="{E92D8EEE-0FA6-ECCF-5400-B339653AA3E8}"/>
          </ac:spMkLst>
        </pc:spChg>
        <pc:spChg chg="mod">
          <ac:chgData name="Jamie Scragg" userId="78393e63-83b5-46e1-9b95-06d8847ad779" providerId="ADAL" clId="{F3E26095-6852-42F4-9C59-092D7B945D71}" dt="2023-11-08T13:52:38.166" v="6368" actId="20577"/>
          <ac:spMkLst>
            <pc:docMk/>
            <pc:sldMk cId="2201796890" sldId="343"/>
            <ac:spMk id="3" creationId="{53AE0CBA-D41E-FB6A-D94C-CD4B08FE898C}"/>
          </ac:spMkLst>
        </pc:spChg>
        <pc:spChg chg="mod">
          <ac:chgData name="Jamie Scragg" userId="78393e63-83b5-46e1-9b95-06d8847ad779" providerId="ADAL" clId="{F3E26095-6852-42F4-9C59-092D7B945D71}" dt="2023-11-08T13:52:41.741" v="6376" actId="20577"/>
          <ac:spMkLst>
            <pc:docMk/>
            <pc:sldMk cId="2201796890" sldId="343"/>
            <ac:spMk id="4" creationId="{8D0F6A3C-4A54-745E-2734-80E02020F7A7}"/>
          </ac:spMkLst>
        </pc:spChg>
        <pc:spChg chg="mod">
          <ac:chgData name="Jamie Scragg" userId="78393e63-83b5-46e1-9b95-06d8847ad779" providerId="ADAL" clId="{F3E26095-6852-42F4-9C59-092D7B945D71}" dt="2023-11-08T11:41:43.115" v="5024" actId="20577"/>
          <ac:spMkLst>
            <pc:docMk/>
            <pc:sldMk cId="2201796890" sldId="343"/>
            <ac:spMk id="5" creationId="{D60A586C-8B09-107F-2C47-78760EC27317}"/>
          </ac:spMkLst>
        </pc:spChg>
        <pc:spChg chg="mod">
          <ac:chgData name="Jamie Scragg" userId="78393e63-83b5-46e1-9b95-06d8847ad779" providerId="ADAL" clId="{F3E26095-6852-42F4-9C59-092D7B945D71}" dt="2023-11-08T11:42:05.944" v="5139" actId="20577"/>
          <ac:spMkLst>
            <pc:docMk/>
            <pc:sldMk cId="2201796890" sldId="343"/>
            <ac:spMk id="6" creationId="{EC47E597-A400-4AC9-F600-49E7A4C487D7}"/>
          </ac:spMkLst>
        </pc:spChg>
        <pc:spChg chg="del mod">
          <ac:chgData name="Jamie Scragg" userId="78393e63-83b5-46e1-9b95-06d8847ad779" providerId="ADAL" clId="{F3E26095-6852-42F4-9C59-092D7B945D71}" dt="2023-11-08T11:12:57.804" v="3974" actId="478"/>
          <ac:spMkLst>
            <pc:docMk/>
            <pc:sldMk cId="2201796890" sldId="343"/>
            <ac:spMk id="7" creationId="{4AF3F9CF-8D9C-8D75-4384-E619A2895A7D}"/>
          </ac:spMkLst>
        </pc:spChg>
        <pc:spChg chg="del">
          <ac:chgData name="Jamie Scragg" userId="78393e63-83b5-46e1-9b95-06d8847ad779" providerId="ADAL" clId="{F3E26095-6852-42F4-9C59-092D7B945D71}" dt="2023-11-06T15:51:10.842" v="877" actId="478"/>
          <ac:spMkLst>
            <pc:docMk/>
            <pc:sldMk cId="2201796890" sldId="343"/>
            <ac:spMk id="8" creationId="{622626E2-3844-62DC-D38B-ABE477CEE59A}"/>
          </ac:spMkLst>
        </pc:spChg>
        <pc:spChg chg="add del mod">
          <ac:chgData name="Jamie Scragg" userId="78393e63-83b5-46e1-9b95-06d8847ad779" providerId="ADAL" clId="{F3E26095-6852-42F4-9C59-092D7B945D71}" dt="2023-11-08T11:12:59.255" v="3975" actId="478"/>
          <ac:spMkLst>
            <pc:docMk/>
            <pc:sldMk cId="2201796890" sldId="343"/>
            <ac:spMk id="9" creationId="{F65917B7-968E-7312-6E22-119E1A9F1735}"/>
          </ac:spMkLst>
        </pc:spChg>
        <pc:spChg chg="add del mod">
          <ac:chgData name="Jamie Scragg" userId="78393e63-83b5-46e1-9b95-06d8847ad779" providerId="ADAL" clId="{F3E26095-6852-42F4-9C59-092D7B945D71}" dt="2023-11-08T11:31:19.111" v="4568" actId="767"/>
          <ac:spMkLst>
            <pc:docMk/>
            <pc:sldMk cId="2201796890" sldId="343"/>
            <ac:spMk id="10" creationId="{961C1225-2B5C-3537-FC71-9E9BA3F36EA0}"/>
          </ac:spMkLst>
        </pc:spChg>
        <pc:spChg chg="add mod">
          <ac:chgData name="Jamie Scragg" userId="78393e63-83b5-46e1-9b95-06d8847ad779" providerId="ADAL" clId="{F3E26095-6852-42F4-9C59-092D7B945D71}" dt="2023-11-08T11:31:56.300" v="4643" actId="20577"/>
          <ac:spMkLst>
            <pc:docMk/>
            <pc:sldMk cId="2201796890" sldId="343"/>
            <ac:spMk id="11" creationId="{7BA6EEA0-411F-E9B7-B42E-9A4FC9648BDD}"/>
          </ac:spMkLst>
        </pc:spChg>
      </pc:sldChg>
      <pc:sldChg chg="modSp mod ord modNotesTx">
        <pc:chgData name="Jamie Scragg" userId="78393e63-83b5-46e1-9b95-06d8847ad779" providerId="ADAL" clId="{F3E26095-6852-42F4-9C59-092D7B945D71}" dt="2023-11-08T12:01:28.751" v="5356"/>
        <pc:sldMkLst>
          <pc:docMk/>
          <pc:sldMk cId="2022798947" sldId="344"/>
        </pc:sldMkLst>
        <pc:spChg chg="mod">
          <ac:chgData name="Jamie Scragg" userId="78393e63-83b5-46e1-9b95-06d8847ad779" providerId="ADAL" clId="{F3E26095-6852-42F4-9C59-092D7B945D71}" dt="2023-11-08T11:41:06.220" v="4974" actId="20577"/>
          <ac:spMkLst>
            <pc:docMk/>
            <pc:sldMk cId="2022798947" sldId="344"/>
            <ac:spMk id="2" creationId="{796505FB-8EB9-E8AE-CB9E-6A1C1D1E99ED}"/>
          </ac:spMkLst>
        </pc:spChg>
      </pc:sldChg>
      <pc:sldChg chg="del">
        <pc:chgData name="Jamie Scragg" userId="78393e63-83b5-46e1-9b95-06d8847ad779" providerId="ADAL" clId="{F3E26095-6852-42F4-9C59-092D7B945D71}" dt="2023-11-08T09:36:33.553" v="2183" actId="2696"/>
        <pc:sldMkLst>
          <pc:docMk/>
          <pc:sldMk cId="3531106874" sldId="347"/>
        </pc:sldMkLst>
      </pc:sldChg>
      <pc:sldChg chg="addSp modSp del mod addCm">
        <pc:chgData name="Jamie Scragg" userId="78393e63-83b5-46e1-9b95-06d8847ad779" providerId="ADAL" clId="{F3E26095-6852-42F4-9C59-092D7B945D71}" dt="2023-11-08T09:36:27.320" v="2182" actId="2696"/>
        <pc:sldMkLst>
          <pc:docMk/>
          <pc:sldMk cId="1470884166" sldId="348"/>
        </pc:sldMkLst>
        <pc:picChg chg="mod">
          <ac:chgData name="Jamie Scragg" userId="78393e63-83b5-46e1-9b95-06d8847ad779" providerId="ADAL" clId="{F3E26095-6852-42F4-9C59-092D7B945D71}" dt="2023-11-06T17:29:04.947" v="1106" actId="1076"/>
          <ac:picMkLst>
            <pc:docMk/>
            <pc:sldMk cId="1470884166" sldId="348"/>
            <ac:picMk id="2" creationId="{A4EE841A-61A4-D9C5-EECC-974BA4D9A4EE}"/>
          </ac:picMkLst>
        </pc:picChg>
        <pc:picChg chg="add mod">
          <ac:chgData name="Jamie Scragg" userId="78393e63-83b5-46e1-9b95-06d8847ad779" providerId="ADAL" clId="{F3E26095-6852-42F4-9C59-092D7B945D71}" dt="2023-11-08T09:18:35.525" v="1791" actId="1076"/>
          <ac:picMkLst>
            <pc:docMk/>
            <pc:sldMk cId="1470884166" sldId="348"/>
            <ac:picMk id="5" creationId="{533F55B5-7905-480F-9AEE-774650F2C623}"/>
          </ac:picMkLst>
        </pc:picChg>
        <pc:picChg chg="mod">
          <ac:chgData name="Jamie Scragg" userId="78393e63-83b5-46e1-9b95-06d8847ad779" providerId="ADAL" clId="{F3E26095-6852-42F4-9C59-092D7B945D71}" dt="2023-11-08T09:18:40.380" v="1792" actId="1076"/>
          <ac:picMkLst>
            <pc:docMk/>
            <pc:sldMk cId="1470884166" sldId="348"/>
            <ac:picMk id="8" creationId="{A5958DC6-2E5E-8BA7-8722-F77D157EF74B}"/>
          </ac:picMkLst>
        </pc:picChg>
        <pc:extLst>
          <p:ext xmlns:p="http://schemas.openxmlformats.org/presentationml/2006/main" uri="{D6D511B9-2390-475A-947B-AFAB55BFBCF1}">
            <pc226:cmChg xmlns:pc226="http://schemas.microsoft.com/office/powerpoint/2022/06/main/command" chg="add">
              <pc226:chgData name="Jamie Scragg" userId="78393e63-83b5-46e1-9b95-06d8847ad779" providerId="ADAL" clId="{F3E26095-6852-42F4-9C59-092D7B945D71}" dt="2023-11-06T17:33:28.362" v="1110"/>
              <pc2:cmMkLst xmlns:pc2="http://schemas.microsoft.com/office/powerpoint/2019/9/main/command">
                <pc:docMk/>
                <pc:sldMk cId="1470884166" sldId="348"/>
                <pc2:cmMk id="{476B7498-0B4D-44D5-A291-6CC04E99E44B}"/>
              </pc2:cmMkLst>
            </pc226:cmChg>
          </p:ext>
        </pc:extLst>
      </pc:sldChg>
      <pc:sldChg chg="modSp mod ord modNotesTx">
        <pc:chgData name="Jamie Scragg" userId="78393e63-83b5-46e1-9b95-06d8847ad779" providerId="ADAL" clId="{F3E26095-6852-42F4-9C59-092D7B945D71}" dt="2023-11-08T11:58:37.764" v="5327" actId="20577"/>
        <pc:sldMkLst>
          <pc:docMk/>
          <pc:sldMk cId="1863055191" sldId="349"/>
        </pc:sldMkLst>
        <pc:spChg chg="mod">
          <ac:chgData name="Jamie Scragg" userId="78393e63-83b5-46e1-9b95-06d8847ad779" providerId="ADAL" clId="{F3E26095-6852-42F4-9C59-092D7B945D71}" dt="2023-11-08T11:47:35.714" v="5207" actId="20577"/>
          <ac:spMkLst>
            <pc:docMk/>
            <pc:sldMk cId="1863055191" sldId="349"/>
            <ac:spMk id="2" creationId="{796505FB-8EB9-E8AE-CB9E-6A1C1D1E99ED}"/>
          </ac:spMkLst>
        </pc:spChg>
      </pc:sldChg>
      <pc:sldChg chg="modSp del mod">
        <pc:chgData name="Jamie Scragg" userId="78393e63-83b5-46e1-9b95-06d8847ad779" providerId="ADAL" clId="{F3E26095-6852-42F4-9C59-092D7B945D71}" dt="2023-11-08T11:14:57.272" v="4002" actId="2696"/>
        <pc:sldMkLst>
          <pc:docMk/>
          <pc:sldMk cId="1127646338" sldId="350"/>
        </pc:sldMkLst>
        <pc:spChg chg="mod">
          <ac:chgData name="Jamie Scragg" userId="78393e63-83b5-46e1-9b95-06d8847ad779" providerId="ADAL" clId="{F3E26095-6852-42F4-9C59-092D7B945D71}" dt="2023-11-08T11:02:36.939" v="3392" actId="14100"/>
          <ac:spMkLst>
            <pc:docMk/>
            <pc:sldMk cId="1127646338" sldId="350"/>
            <ac:spMk id="2" creationId="{10BD3CA5-63B5-0D6E-4F03-D47780DF0096}"/>
          </ac:spMkLst>
        </pc:spChg>
      </pc:sldChg>
      <pc:sldChg chg="modSp mod ord modNotesTx">
        <pc:chgData name="Jamie Scragg" userId="78393e63-83b5-46e1-9b95-06d8847ad779" providerId="ADAL" clId="{F3E26095-6852-42F4-9C59-092D7B945D71}" dt="2023-11-08T11:50:58.241" v="5239" actId="20577"/>
        <pc:sldMkLst>
          <pc:docMk/>
          <pc:sldMk cId="2741567555" sldId="353"/>
        </pc:sldMkLst>
        <pc:spChg chg="mod">
          <ac:chgData name="Jamie Scragg" userId="78393e63-83b5-46e1-9b95-06d8847ad779" providerId="ADAL" clId="{F3E26095-6852-42F4-9C59-092D7B945D71}" dt="2023-11-08T11:17:46.811" v="4131" actId="113"/>
          <ac:spMkLst>
            <pc:docMk/>
            <pc:sldMk cId="2741567555" sldId="353"/>
            <ac:spMk id="3" creationId="{F8D4DA9C-A75A-8BA1-7D52-950F7DD3AE4F}"/>
          </ac:spMkLst>
        </pc:spChg>
      </pc:sldChg>
      <pc:sldChg chg="modNotesTx">
        <pc:chgData name="Jamie Scragg" userId="78393e63-83b5-46e1-9b95-06d8847ad779" providerId="ADAL" clId="{F3E26095-6852-42F4-9C59-092D7B945D71}" dt="2023-11-08T12:02:32.459" v="5367" actId="20577"/>
        <pc:sldMkLst>
          <pc:docMk/>
          <pc:sldMk cId="4149096652" sldId="359"/>
        </pc:sldMkLst>
      </pc:sldChg>
      <pc:sldChg chg="addSp delSp modSp new mod ord modClrScheme chgLayout modNotesTx">
        <pc:chgData name="Jamie Scragg" userId="78393e63-83b5-46e1-9b95-06d8847ad779" providerId="ADAL" clId="{F3E26095-6852-42F4-9C59-092D7B945D71}" dt="2023-11-08T14:35:45.224" v="8967" actId="20577"/>
        <pc:sldMkLst>
          <pc:docMk/>
          <pc:sldMk cId="2453761382" sldId="360"/>
        </pc:sldMkLst>
        <pc:spChg chg="del mod">
          <ac:chgData name="Jamie Scragg" userId="78393e63-83b5-46e1-9b95-06d8847ad779" providerId="ADAL" clId="{F3E26095-6852-42F4-9C59-092D7B945D71}" dt="2023-11-07T08:54:18.302" v="1181" actId="22"/>
          <ac:spMkLst>
            <pc:docMk/>
            <pc:sldMk cId="2453761382" sldId="360"/>
            <ac:spMk id="2" creationId="{A1CA75EA-2F72-4C79-4671-7C529AD16229}"/>
          </ac:spMkLst>
        </pc:spChg>
        <pc:spChg chg="mod">
          <ac:chgData name="Jamie Scragg" userId="78393e63-83b5-46e1-9b95-06d8847ad779" providerId="ADAL" clId="{F3E26095-6852-42F4-9C59-092D7B945D71}" dt="2023-11-07T08:54:28.838" v="1184" actId="26606"/>
          <ac:spMkLst>
            <pc:docMk/>
            <pc:sldMk cId="2453761382" sldId="360"/>
            <ac:spMk id="3" creationId="{21ACAE11-3E2A-390A-9137-6193F6C70180}"/>
          </ac:spMkLst>
        </pc:spChg>
        <pc:spChg chg="add mod">
          <ac:chgData name="Jamie Scragg" userId="78393e63-83b5-46e1-9b95-06d8847ad779" providerId="ADAL" clId="{F3E26095-6852-42F4-9C59-092D7B945D71}" dt="2023-11-08T09:50:18.236" v="2429" actId="20577"/>
          <ac:spMkLst>
            <pc:docMk/>
            <pc:sldMk cId="2453761382" sldId="360"/>
            <ac:spMk id="10" creationId="{60BF23AC-82CD-2245-BDB7-63ED03BE65B3}"/>
          </ac:spMkLst>
        </pc:spChg>
        <pc:spChg chg="add del mod">
          <ac:chgData name="Jamie Scragg" userId="78393e63-83b5-46e1-9b95-06d8847ad779" providerId="ADAL" clId="{F3E26095-6852-42F4-9C59-092D7B945D71}" dt="2023-11-07T08:58:07.004" v="1529" actId="478"/>
          <ac:spMkLst>
            <pc:docMk/>
            <pc:sldMk cId="2453761382" sldId="360"/>
            <ac:spMk id="12" creationId="{2B5BCE2D-A2DC-4F2E-89A4-1982B6D0307F}"/>
          </ac:spMkLst>
        </pc:spChg>
        <pc:graphicFrameChg chg="add mod modGraphic">
          <ac:chgData name="Jamie Scragg" userId="78393e63-83b5-46e1-9b95-06d8847ad779" providerId="ADAL" clId="{F3E26095-6852-42F4-9C59-092D7B945D71}" dt="2023-11-08T10:38:06.440" v="2942" actId="2165"/>
          <ac:graphicFrameMkLst>
            <pc:docMk/>
            <pc:sldMk cId="2453761382" sldId="360"/>
            <ac:graphicFrameMk id="2" creationId="{D6690053-D673-767A-74D9-1DC60B021D8D}"/>
          </ac:graphicFrameMkLst>
        </pc:graphicFrameChg>
        <pc:picChg chg="add del mod ord">
          <ac:chgData name="Jamie Scragg" userId="78393e63-83b5-46e1-9b95-06d8847ad779" providerId="ADAL" clId="{F3E26095-6852-42F4-9C59-092D7B945D71}" dt="2023-11-07T08:57:52.840" v="1526" actId="478"/>
          <ac:picMkLst>
            <pc:docMk/>
            <pc:sldMk cId="2453761382" sldId="360"/>
            <ac:picMk id="5" creationId="{6B29AA89-1973-33CB-8658-86E5CB4C9A94}"/>
          </ac:picMkLst>
        </pc:picChg>
        <pc:picChg chg="add del mod">
          <ac:chgData name="Jamie Scragg" userId="78393e63-83b5-46e1-9b95-06d8847ad779" providerId="ADAL" clId="{F3E26095-6852-42F4-9C59-092D7B945D71}" dt="2023-11-07T08:59:28.480" v="1671" actId="478"/>
          <ac:picMkLst>
            <pc:docMk/>
            <pc:sldMk cId="2453761382" sldId="360"/>
            <ac:picMk id="7" creationId="{7F39D4E8-13EF-8FFF-E112-673D0D013042}"/>
          </ac:picMkLst>
        </pc:picChg>
        <pc:picChg chg="add mod">
          <ac:chgData name="Jamie Scragg" userId="78393e63-83b5-46e1-9b95-06d8847ad779" providerId="ADAL" clId="{F3E26095-6852-42F4-9C59-092D7B945D71}" dt="2023-11-07T08:59:40.186" v="1674" actId="1076"/>
          <ac:picMkLst>
            <pc:docMk/>
            <pc:sldMk cId="2453761382" sldId="360"/>
            <ac:picMk id="9" creationId="{C2CF851A-CBD1-18EE-A146-2F471A00134B}"/>
          </ac:picMkLst>
        </pc:picChg>
        <pc:picChg chg="add mod modCrop">
          <ac:chgData name="Jamie Scragg" userId="78393e63-83b5-46e1-9b95-06d8847ad779" providerId="ADAL" clId="{F3E26095-6852-42F4-9C59-092D7B945D71}" dt="2023-11-07T08:59:48.472" v="1675" actId="732"/>
          <ac:picMkLst>
            <pc:docMk/>
            <pc:sldMk cId="2453761382" sldId="360"/>
            <ac:picMk id="14" creationId="{EF625736-2F4A-AD54-0E6A-570C47897C01}"/>
          </ac:picMkLst>
        </pc:picChg>
      </pc:sldChg>
      <pc:sldChg chg="addSp delSp modSp new mod ord modClrScheme chgLayout modNotesTx">
        <pc:chgData name="Jamie Scragg" userId="78393e63-83b5-46e1-9b95-06d8847ad779" providerId="ADAL" clId="{F3E26095-6852-42F4-9C59-092D7B945D71}" dt="2023-11-08T11:50:39.196" v="5221" actId="20577"/>
        <pc:sldMkLst>
          <pc:docMk/>
          <pc:sldMk cId="2611510499" sldId="364"/>
        </pc:sldMkLst>
        <pc:spChg chg="del">
          <ac:chgData name="Jamie Scragg" userId="78393e63-83b5-46e1-9b95-06d8847ad779" providerId="ADAL" clId="{F3E26095-6852-42F4-9C59-092D7B945D71}" dt="2023-11-08T09:20:29.247" v="1850" actId="700"/>
          <ac:spMkLst>
            <pc:docMk/>
            <pc:sldMk cId="2611510499" sldId="364"/>
            <ac:spMk id="2" creationId="{DE2C4F70-C19E-FABC-7CAF-9353D36EC281}"/>
          </ac:spMkLst>
        </pc:spChg>
        <pc:spChg chg="del mod ord">
          <ac:chgData name="Jamie Scragg" userId="78393e63-83b5-46e1-9b95-06d8847ad779" providerId="ADAL" clId="{F3E26095-6852-42F4-9C59-092D7B945D71}" dt="2023-11-08T09:20:29.247" v="1850" actId="700"/>
          <ac:spMkLst>
            <pc:docMk/>
            <pc:sldMk cId="2611510499" sldId="364"/>
            <ac:spMk id="3" creationId="{1D62976E-83DB-AB91-E343-5000399324E4}"/>
          </ac:spMkLst>
        </pc:spChg>
        <pc:spChg chg="add del mod">
          <ac:chgData name="Jamie Scragg" userId="78393e63-83b5-46e1-9b95-06d8847ad779" providerId="ADAL" clId="{F3E26095-6852-42F4-9C59-092D7B945D71}" dt="2023-11-08T09:31:32.727" v="1874" actId="47"/>
          <ac:spMkLst>
            <pc:docMk/>
            <pc:sldMk cId="2611510499" sldId="364"/>
            <ac:spMk id="3" creationId="{BBE94EB1-8030-147D-C844-4F5C98A4FA1F}"/>
          </ac:spMkLst>
        </pc:spChg>
        <pc:spChg chg="del">
          <ac:chgData name="Jamie Scragg" userId="78393e63-83b5-46e1-9b95-06d8847ad779" providerId="ADAL" clId="{F3E26095-6852-42F4-9C59-092D7B945D71}" dt="2023-11-08T09:20:29.247" v="1850" actId="700"/>
          <ac:spMkLst>
            <pc:docMk/>
            <pc:sldMk cId="2611510499" sldId="364"/>
            <ac:spMk id="4" creationId="{5ED50F8B-BA2B-054D-8253-3BA82F994C81}"/>
          </ac:spMkLst>
        </pc:spChg>
        <pc:spChg chg="add mod">
          <ac:chgData name="Jamie Scragg" userId="78393e63-83b5-46e1-9b95-06d8847ad779" providerId="ADAL" clId="{F3E26095-6852-42F4-9C59-092D7B945D71}" dt="2023-11-08T09:33:54.230" v="2163" actId="20577"/>
          <ac:spMkLst>
            <pc:docMk/>
            <pc:sldMk cId="2611510499" sldId="364"/>
            <ac:spMk id="4" creationId="{FD5AB1BA-C7AB-A53B-FAED-E0207E653DEF}"/>
          </ac:spMkLst>
        </pc:spChg>
        <pc:spChg chg="mod ord">
          <ac:chgData name="Jamie Scragg" userId="78393e63-83b5-46e1-9b95-06d8847ad779" providerId="ADAL" clId="{F3E26095-6852-42F4-9C59-092D7B945D71}" dt="2023-11-08T09:20:29.247" v="1850" actId="700"/>
          <ac:spMkLst>
            <pc:docMk/>
            <pc:sldMk cId="2611510499" sldId="364"/>
            <ac:spMk id="5" creationId="{54D8FB1A-5251-492A-16DD-9C0A862D51BC}"/>
          </ac:spMkLst>
        </pc:spChg>
        <pc:spChg chg="del">
          <ac:chgData name="Jamie Scragg" userId="78393e63-83b5-46e1-9b95-06d8847ad779" providerId="ADAL" clId="{F3E26095-6852-42F4-9C59-092D7B945D71}" dt="2023-11-08T09:20:29.247" v="1850" actId="700"/>
          <ac:spMkLst>
            <pc:docMk/>
            <pc:sldMk cId="2611510499" sldId="364"/>
            <ac:spMk id="6" creationId="{438B8536-61ED-0AF5-3BF3-BB26C1E2D396}"/>
          </ac:spMkLst>
        </pc:spChg>
        <pc:spChg chg="del">
          <ac:chgData name="Jamie Scragg" userId="78393e63-83b5-46e1-9b95-06d8847ad779" providerId="ADAL" clId="{F3E26095-6852-42F4-9C59-092D7B945D71}" dt="2023-11-08T09:20:29.247" v="1850" actId="700"/>
          <ac:spMkLst>
            <pc:docMk/>
            <pc:sldMk cId="2611510499" sldId="364"/>
            <ac:spMk id="7" creationId="{3E5DF2C0-146C-6A4C-28B1-FD840F224012}"/>
          </ac:spMkLst>
        </pc:spChg>
        <pc:spChg chg="add del mod ord">
          <ac:chgData name="Jamie Scragg" userId="78393e63-83b5-46e1-9b95-06d8847ad779" providerId="ADAL" clId="{F3E26095-6852-42F4-9C59-092D7B945D71}" dt="2023-11-08T09:31:01.655" v="1868" actId="478"/>
          <ac:spMkLst>
            <pc:docMk/>
            <pc:sldMk cId="2611510499" sldId="364"/>
            <ac:spMk id="8" creationId="{0CA1C676-F4B9-B9AF-80B2-5B50881610B0}"/>
          </ac:spMkLst>
        </pc:spChg>
        <pc:picChg chg="add del mod">
          <ac:chgData name="Jamie Scragg" userId="78393e63-83b5-46e1-9b95-06d8847ad779" providerId="ADAL" clId="{F3E26095-6852-42F4-9C59-092D7B945D71}" dt="2023-11-08T09:34:46.877" v="2171" actId="14100"/>
          <ac:picMkLst>
            <pc:docMk/>
            <pc:sldMk cId="2611510499" sldId="364"/>
            <ac:picMk id="2" creationId="{CF8F6550-8921-9A61-E528-FE72CCBD46EA}"/>
          </ac:picMkLst>
        </pc:picChg>
        <pc:picChg chg="add mod">
          <ac:chgData name="Jamie Scragg" userId="78393e63-83b5-46e1-9b95-06d8847ad779" providerId="ADAL" clId="{F3E26095-6852-42F4-9C59-092D7B945D71}" dt="2023-11-08T09:34:40.352" v="2169" actId="14100"/>
          <ac:picMkLst>
            <pc:docMk/>
            <pc:sldMk cId="2611510499" sldId="364"/>
            <ac:picMk id="6" creationId="{26E17650-0C7E-7B02-0185-00B73F4A8B62}"/>
          </ac:picMkLst>
        </pc:picChg>
        <pc:picChg chg="add mod modCrop">
          <ac:chgData name="Jamie Scragg" userId="78393e63-83b5-46e1-9b95-06d8847ad779" providerId="ADAL" clId="{F3E26095-6852-42F4-9C59-092D7B945D71}" dt="2023-11-08T09:35:38.228" v="2181" actId="1076"/>
          <ac:picMkLst>
            <pc:docMk/>
            <pc:sldMk cId="2611510499" sldId="364"/>
            <ac:picMk id="7" creationId="{E8196E80-621A-D661-E5C4-A11F89CCC8DB}"/>
          </ac:picMkLst>
        </pc:picChg>
        <pc:picChg chg="add mod">
          <ac:chgData name="Jamie Scragg" userId="78393e63-83b5-46e1-9b95-06d8847ad779" providerId="ADAL" clId="{F3E26095-6852-42F4-9C59-092D7B945D71}" dt="2023-11-08T09:34:52.874" v="2174" actId="1076"/>
          <ac:picMkLst>
            <pc:docMk/>
            <pc:sldMk cId="2611510499" sldId="364"/>
            <ac:picMk id="9" creationId="{CD29E778-865B-5CC8-AE28-54A524D5B38F}"/>
          </ac:picMkLst>
        </pc:picChg>
        <pc:picChg chg="add del mod">
          <ac:chgData name="Jamie Scragg" userId="78393e63-83b5-46e1-9b95-06d8847ad779" providerId="ADAL" clId="{F3E26095-6852-42F4-9C59-092D7B945D71}" dt="2023-11-08T09:34:25.990" v="2164" actId="478"/>
          <ac:picMkLst>
            <pc:docMk/>
            <pc:sldMk cId="2611510499" sldId="364"/>
            <ac:picMk id="10" creationId="{05599A66-4170-6F67-3CB7-C7ECEF5F9ACF}"/>
          </ac:picMkLst>
        </pc:picChg>
      </pc:sldChg>
      <pc:sldChg chg="new">
        <pc:chgData name="Jamie Scragg" userId="78393e63-83b5-46e1-9b95-06d8847ad779" providerId="ADAL" clId="{F3E26095-6852-42F4-9C59-092D7B945D71}" dt="2023-11-08T09:38:48.873" v="2256" actId="680"/>
        <pc:sldMkLst>
          <pc:docMk/>
          <pc:sldMk cId="2124821139" sldId="365"/>
        </pc:sldMkLst>
      </pc:sldChg>
      <pc:sldChg chg="addSp delSp modSp new mod ord modNotesTx">
        <pc:chgData name="Jamie Scragg" userId="78393e63-83b5-46e1-9b95-06d8847ad779" providerId="ADAL" clId="{F3E26095-6852-42F4-9C59-092D7B945D71}" dt="2023-11-08T12:02:14.922" v="5364" actId="20578"/>
        <pc:sldMkLst>
          <pc:docMk/>
          <pc:sldMk cId="4000309285" sldId="365"/>
        </pc:sldMkLst>
        <pc:spChg chg="del mod">
          <ac:chgData name="Jamie Scragg" userId="78393e63-83b5-46e1-9b95-06d8847ad779" providerId="ADAL" clId="{F3E26095-6852-42F4-9C59-092D7B945D71}" dt="2023-11-08T10:47:41.473" v="3023" actId="478"/>
          <ac:spMkLst>
            <pc:docMk/>
            <pc:sldMk cId="4000309285" sldId="365"/>
            <ac:spMk id="2" creationId="{0E09F79D-1F23-9189-7FDF-492AEA293859}"/>
          </ac:spMkLst>
        </pc:spChg>
        <pc:spChg chg="mod">
          <ac:chgData name="Jamie Scragg" userId="78393e63-83b5-46e1-9b95-06d8847ad779" providerId="ADAL" clId="{F3E26095-6852-42F4-9C59-092D7B945D71}" dt="2023-11-08T10:55:12.054" v="3278" actId="20577"/>
          <ac:spMkLst>
            <pc:docMk/>
            <pc:sldMk cId="4000309285" sldId="365"/>
            <ac:spMk id="3" creationId="{CD0B2C1C-668C-3A65-A547-71F451CD2E82}"/>
          </ac:spMkLst>
        </pc:spChg>
        <pc:spChg chg="add del mod">
          <ac:chgData name="Jamie Scragg" userId="78393e63-83b5-46e1-9b95-06d8847ad779" providerId="ADAL" clId="{F3E26095-6852-42F4-9C59-092D7B945D71}" dt="2023-11-08T11:18:37.289" v="4144" actId="478"/>
          <ac:spMkLst>
            <pc:docMk/>
            <pc:sldMk cId="4000309285" sldId="365"/>
            <ac:spMk id="6" creationId="{2D32104E-A24A-D287-779F-0384931029CC}"/>
          </ac:spMkLst>
        </pc:spChg>
        <pc:spChg chg="add del mod">
          <ac:chgData name="Jamie Scragg" userId="78393e63-83b5-46e1-9b95-06d8847ad779" providerId="ADAL" clId="{F3E26095-6852-42F4-9C59-092D7B945D71}" dt="2023-11-08T11:18:48.996" v="4148" actId="767"/>
          <ac:spMkLst>
            <pc:docMk/>
            <pc:sldMk cId="4000309285" sldId="365"/>
            <ac:spMk id="8" creationId="{0B2C6A1D-679D-E934-5E9A-4AB2735B5208}"/>
          </ac:spMkLst>
        </pc:spChg>
        <pc:spChg chg="add del mod">
          <ac:chgData name="Jamie Scragg" userId="78393e63-83b5-46e1-9b95-06d8847ad779" providerId="ADAL" clId="{F3E26095-6852-42F4-9C59-092D7B945D71}" dt="2023-11-08T11:26:29.716" v="4364" actId="478"/>
          <ac:spMkLst>
            <pc:docMk/>
            <pc:sldMk cId="4000309285" sldId="365"/>
            <ac:spMk id="9" creationId="{31B3EE2F-35F1-18DD-1DAC-362F89DD306D}"/>
          </ac:spMkLst>
        </pc:spChg>
        <pc:spChg chg="add del mod">
          <ac:chgData name="Jamie Scragg" userId="78393e63-83b5-46e1-9b95-06d8847ad779" providerId="ADAL" clId="{F3E26095-6852-42F4-9C59-092D7B945D71}" dt="2023-11-08T11:26:25.148" v="4363"/>
          <ac:spMkLst>
            <pc:docMk/>
            <pc:sldMk cId="4000309285" sldId="365"/>
            <ac:spMk id="14" creationId="{080C0107-C386-CFAE-5D31-CDF388F84A38}"/>
          </ac:spMkLst>
        </pc:spChg>
        <pc:spChg chg="add del mod">
          <ac:chgData name="Jamie Scragg" userId="78393e63-83b5-46e1-9b95-06d8847ad779" providerId="ADAL" clId="{F3E26095-6852-42F4-9C59-092D7B945D71}" dt="2023-11-08T11:26:18.470" v="4362"/>
          <ac:spMkLst>
            <pc:docMk/>
            <pc:sldMk cId="4000309285" sldId="365"/>
            <ac:spMk id="15" creationId="{8AEF9F74-35B0-ED89-F26D-936F2E013B3A}"/>
          </ac:spMkLst>
        </pc:spChg>
        <pc:spChg chg="add mod">
          <ac:chgData name="Jamie Scragg" userId="78393e63-83b5-46e1-9b95-06d8847ad779" providerId="ADAL" clId="{F3E26095-6852-42F4-9C59-092D7B945D71}" dt="2023-11-08T11:34:45.553" v="4647" actId="1076"/>
          <ac:spMkLst>
            <pc:docMk/>
            <pc:sldMk cId="4000309285" sldId="365"/>
            <ac:spMk id="16" creationId="{608EDADD-FD43-0AFF-DAB8-EC61A1D64801}"/>
          </ac:spMkLst>
        </pc:spChg>
        <pc:spChg chg="add mod">
          <ac:chgData name="Jamie Scragg" userId="78393e63-83b5-46e1-9b95-06d8847ad779" providerId="ADAL" clId="{F3E26095-6852-42F4-9C59-092D7B945D71}" dt="2023-11-08T11:36:31.735" v="4725" actId="1076"/>
          <ac:spMkLst>
            <pc:docMk/>
            <pc:sldMk cId="4000309285" sldId="365"/>
            <ac:spMk id="17" creationId="{BA49E86C-9D7E-7EEB-2C70-307FD83BFA63}"/>
          </ac:spMkLst>
        </pc:spChg>
        <pc:picChg chg="add del mod">
          <ac:chgData name="Jamie Scragg" userId="78393e63-83b5-46e1-9b95-06d8847ad779" providerId="ADAL" clId="{F3E26095-6852-42F4-9C59-092D7B945D71}" dt="2023-11-08T11:23:26.190" v="4308" actId="478"/>
          <ac:picMkLst>
            <pc:docMk/>
            <pc:sldMk cId="4000309285" sldId="365"/>
            <ac:picMk id="5" creationId="{1EEB3BE6-CFD1-9FFC-242E-70A08FD9464A}"/>
          </ac:picMkLst>
        </pc:picChg>
        <pc:picChg chg="add mod">
          <ac:chgData name="Jamie Scragg" userId="78393e63-83b5-46e1-9b95-06d8847ad779" providerId="ADAL" clId="{F3E26095-6852-42F4-9C59-092D7B945D71}" dt="2023-11-08T11:34:43.099" v="4646" actId="1076"/>
          <ac:picMkLst>
            <pc:docMk/>
            <pc:sldMk cId="4000309285" sldId="365"/>
            <ac:picMk id="7" creationId="{253090CE-8862-B37D-058F-DCF6C92326DD}"/>
          </ac:picMkLst>
        </pc:picChg>
        <pc:picChg chg="add mod">
          <ac:chgData name="Jamie Scragg" userId="78393e63-83b5-46e1-9b95-06d8847ad779" providerId="ADAL" clId="{F3E26095-6852-42F4-9C59-092D7B945D71}" dt="2023-11-08T11:25:35.013" v="4351" actId="14100"/>
          <ac:picMkLst>
            <pc:docMk/>
            <pc:sldMk cId="4000309285" sldId="365"/>
            <ac:picMk id="11" creationId="{0A38672D-3ECA-C7B9-2973-227193DDEDE5}"/>
          </ac:picMkLst>
        </pc:picChg>
        <pc:picChg chg="add mod">
          <ac:chgData name="Jamie Scragg" userId="78393e63-83b5-46e1-9b95-06d8847ad779" providerId="ADAL" clId="{F3E26095-6852-42F4-9C59-092D7B945D71}" dt="2023-11-08T11:25:43.110" v="4354" actId="1076"/>
          <ac:picMkLst>
            <pc:docMk/>
            <pc:sldMk cId="4000309285" sldId="365"/>
            <ac:picMk id="13" creationId="{588D441D-8EE1-CE11-74C6-A9C7E4A69A3D}"/>
          </ac:picMkLst>
        </pc:picChg>
      </pc:sldChg>
      <pc:sldChg chg="new">
        <pc:chgData name="Jamie Scragg" userId="78393e63-83b5-46e1-9b95-06d8847ad779" providerId="ADAL" clId="{F3E26095-6852-42F4-9C59-092D7B945D71}" dt="2023-11-08T09:39:50.319" v="2267" actId="680"/>
        <pc:sldMkLst>
          <pc:docMk/>
          <pc:sldMk cId="344962178" sldId="366"/>
        </pc:sldMkLst>
      </pc:sldChg>
      <pc:sldChg chg="modSp new mod ord modNotesTx">
        <pc:chgData name="Jamie Scragg" userId="78393e63-83b5-46e1-9b95-06d8847ad779" providerId="ADAL" clId="{F3E26095-6852-42F4-9C59-092D7B945D71}" dt="2023-11-08T12:02:14.290" v="5363" actId="20578"/>
        <pc:sldMkLst>
          <pc:docMk/>
          <pc:sldMk cId="2394982353" sldId="366"/>
        </pc:sldMkLst>
        <pc:spChg chg="mod">
          <ac:chgData name="Jamie Scragg" userId="78393e63-83b5-46e1-9b95-06d8847ad779" providerId="ADAL" clId="{F3E26095-6852-42F4-9C59-092D7B945D71}" dt="2023-11-08T11:18:17.869" v="4141" actId="113"/>
          <ac:spMkLst>
            <pc:docMk/>
            <pc:sldMk cId="2394982353" sldId="366"/>
            <ac:spMk id="2" creationId="{0959F975-21BC-F0F3-371E-3EDE523C2F77}"/>
          </ac:spMkLst>
        </pc:spChg>
        <pc:spChg chg="mod">
          <ac:chgData name="Jamie Scragg" userId="78393e63-83b5-46e1-9b95-06d8847ad779" providerId="ADAL" clId="{F3E26095-6852-42F4-9C59-092D7B945D71}" dt="2023-11-08T10:59:07.611" v="3377" actId="20577"/>
          <ac:spMkLst>
            <pc:docMk/>
            <pc:sldMk cId="2394982353" sldId="366"/>
            <ac:spMk id="3" creationId="{947F78C5-9F29-040A-3CE6-31659B571E19}"/>
          </ac:spMkLst>
        </pc:spChg>
      </pc:sldChg>
      <pc:sldChg chg="add del ord">
        <pc:chgData name="Jamie Scragg" userId="78393e63-83b5-46e1-9b95-06d8847ad779" providerId="ADAL" clId="{F3E26095-6852-42F4-9C59-092D7B945D71}" dt="2023-11-08T11:29:02.479" v="4483" actId="2696"/>
        <pc:sldMkLst>
          <pc:docMk/>
          <pc:sldMk cId="1126661342" sldId="367"/>
        </pc:sldMkLst>
      </pc:sldChg>
      <pc:sldChg chg="new del">
        <pc:chgData name="Jamie Scragg" userId="78393e63-83b5-46e1-9b95-06d8847ad779" providerId="ADAL" clId="{F3E26095-6852-42F4-9C59-092D7B945D71}" dt="2023-11-08T11:13:16.067" v="3977" actId="2696"/>
        <pc:sldMkLst>
          <pc:docMk/>
          <pc:sldMk cId="1320625581" sldId="367"/>
        </pc:sldMkLst>
      </pc:sldChg>
      <pc:sldChg chg="addSp delSp modSp new del mod">
        <pc:chgData name="Jamie Scragg" userId="78393e63-83b5-46e1-9b95-06d8847ad779" providerId="ADAL" clId="{F3E26095-6852-42F4-9C59-092D7B945D71}" dt="2023-11-08T11:09:47.931" v="3765" actId="2696"/>
        <pc:sldMkLst>
          <pc:docMk/>
          <pc:sldMk cId="1414956562" sldId="367"/>
        </pc:sldMkLst>
        <pc:spChg chg="del">
          <ac:chgData name="Jamie Scragg" userId="78393e63-83b5-46e1-9b95-06d8847ad779" providerId="ADAL" clId="{F3E26095-6852-42F4-9C59-092D7B945D71}" dt="2023-11-08T11:03:08.446" v="3443" actId="3680"/>
          <ac:spMkLst>
            <pc:docMk/>
            <pc:sldMk cId="1414956562" sldId="367"/>
            <ac:spMk id="2" creationId="{946E3C90-D5CD-0019-B41A-CE85CAB45BCC}"/>
          </ac:spMkLst>
        </pc:spChg>
        <pc:spChg chg="add del mod">
          <ac:chgData name="Jamie Scragg" userId="78393e63-83b5-46e1-9b95-06d8847ad779" providerId="ADAL" clId="{F3E26095-6852-42F4-9C59-092D7B945D71}" dt="2023-11-08T11:03:04.856" v="3442" actId="767"/>
          <ac:spMkLst>
            <pc:docMk/>
            <pc:sldMk cId="1414956562" sldId="367"/>
            <ac:spMk id="4" creationId="{A982DB91-454C-1395-1EA8-1D5529BADC5D}"/>
          </ac:spMkLst>
        </pc:spChg>
        <pc:graphicFrameChg chg="add mod ord modGraphic">
          <ac:chgData name="Jamie Scragg" userId="78393e63-83b5-46e1-9b95-06d8847ad779" providerId="ADAL" clId="{F3E26095-6852-42F4-9C59-092D7B945D71}" dt="2023-11-08T11:06:11.298" v="3752" actId="20577"/>
          <ac:graphicFrameMkLst>
            <pc:docMk/>
            <pc:sldMk cId="1414956562" sldId="367"/>
            <ac:graphicFrameMk id="5" creationId="{429D26DA-64E8-6247-0D86-A7348895AEE3}"/>
          </ac:graphicFrameMkLst>
        </pc:graphicFrameChg>
      </pc:sldChg>
      <pc:sldChg chg="modNotesTx">
        <pc:chgData name="Jamie Scragg" userId="78393e63-83b5-46e1-9b95-06d8847ad779" providerId="ADAL" clId="{F3E26095-6852-42F4-9C59-092D7B945D71}" dt="2023-11-08T11:53:11.343" v="5250" actId="20577"/>
        <pc:sldMkLst>
          <pc:docMk/>
          <pc:sldMk cId="4277432714" sldId="367"/>
        </pc:sldMkLst>
      </pc:sldChg>
      <pc:sldChg chg="modSp add mod ord">
        <pc:chgData name="Jamie Scragg" userId="78393e63-83b5-46e1-9b95-06d8847ad779" providerId="ADAL" clId="{F3E26095-6852-42F4-9C59-092D7B945D71}" dt="2023-11-08T11:41:32.435" v="5003" actId="20577"/>
        <pc:sldMkLst>
          <pc:docMk/>
          <pc:sldMk cId="136441797" sldId="368"/>
        </pc:sldMkLst>
        <pc:spChg chg="mod">
          <ac:chgData name="Jamie Scragg" userId="78393e63-83b5-46e1-9b95-06d8847ad779" providerId="ADAL" clId="{F3E26095-6852-42F4-9C59-092D7B945D71}" dt="2023-11-08T11:41:32.435" v="5003" actId="20577"/>
          <ac:spMkLst>
            <pc:docMk/>
            <pc:sldMk cId="136441797" sldId="368"/>
            <ac:spMk id="2" creationId="{796505FB-8EB9-E8AE-CB9E-6A1C1D1E99ED}"/>
          </ac:spMkLst>
        </pc:spChg>
      </pc:sldChg>
      <pc:sldChg chg="new del">
        <pc:chgData name="Jamie Scragg" userId="78393e63-83b5-46e1-9b95-06d8847ad779" providerId="ADAL" clId="{F3E26095-6852-42F4-9C59-092D7B945D71}" dt="2023-11-08T11:13:22.185" v="3978" actId="2696"/>
        <pc:sldMkLst>
          <pc:docMk/>
          <pc:sldMk cId="3317925274" sldId="368"/>
        </pc:sldMkLst>
      </pc:sldChg>
      <pc:sldMasterChg chg="addSldLayout delSldLayout">
        <pc:chgData name="Jamie Scragg" userId="78393e63-83b5-46e1-9b95-06d8847ad779" providerId="ADAL" clId="{F3E26095-6852-42F4-9C59-092D7B945D71}" dt="2023-11-08T11:29:02.479" v="4483" actId="2696"/>
        <pc:sldMasterMkLst>
          <pc:docMk/>
          <pc:sldMasterMk cId="2640246916" sldId="2147483670"/>
        </pc:sldMasterMkLst>
        <pc:sldLayoutChg chg="add del">
          <pc:chgData name="Jamie Scragg" userId="78393e63-83b5-46e1-9b95-06d8847ad779" providerId="ADAL" clId="{F3E26095-6852-42F4-9C59-092D7B945D71}" dt="2023-11-08T11:29:02.479" v="4483" actId="2696"/>
          <pc:sldLayoutMkLst>
            <pc:docMk/>
            <pc:sldMasterMk cId="2640246916" sldId="2147483670"/>
            <pc:sldLayoutMk cId="2816776909" sldId="2147483732"/>
          </pc:sldLayoutMkLst>
        </pc:sldLayoutChg>
      </pc:sldMasterChg>
      <pc:sldMasterChg chg="modSldLayout">
        <pc:chgData name="Jamie Scragg" userId="78393e63-83b5-46e1-9b95-06d8847ad779" providerId="ADAL" clId="{F3E26095-6852-42F4-9C59-092D7B945D71}" dt="2023-11-08T11:29:51.746" v="4487"/>
        <pc:sldMasterMkLst>
          <pc:docMk/>
          <pc:sldMasterMk cId="2577300477" sldId="2147483682"/>
        </pc:sldMasterMkLst>
        <pc:sldLayoutChg chg="addSp delSp modSp mod">
          <pc:chgData name="Jamie Scragg" userId="78393e63-83b5-46e1-9b95-06d8847ad779" providerId="ADAL" clId="{F3E26095-6852-42F4-9C59-092D7B945D71}" dt="2023-11-08T11:29:51.746" v="4487"/>
          <pc:sldLayoutMkLst>
            <pc:docMk/>
            <pc:sldMasterMk cId="2577300477" sldId="2147483682"/>
            <pc:sldLayoutMk cId="3723084566" sldId="2147483687"/>
          </pc:sldLayoutMkLst>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2" creationId="{58EA4E5F-7FB3-6DFB-D880-05C9354274E6}"/>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3" creationId="{B7EF6F1C-695B-C36C-2566-64AF0313FD02}"/>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4" creationId="{2F51A44C-6F1B-4F49-709D-EDB7BBCCA9AF}"/>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5" creationId="{12E63EFB-B154-6F17-D932-78E4E5733C0D}"/>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6" creationId="{AFCDE1C9-CD06-EE8F-01F7-DE0265AE413E}"/>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7" creationId="{8C999BFE-FD67-84D1-AD0B-C78AAA338F50}"/>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8" creationId="{A4170CA9-14BC-B00B-EBE9-147B97350204}"/>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9" creationId="{A836A6BD-C5B6-9914-9D4C-5DE966EBACA8}"/>
            </ac:spMkLst>
          </pc:spChg>
          <pc:spChg chg="del">
            <ac:chgData name="Jamie Scragg" userId="78393e63-83b5-46e1-9b95-06d8847ad779" providerId="ADAL" clId="{F3E26095-6852-42F4-9C59-092D7B945D71}" dt="2023-11-08T11:11:41.768" v="3803" actId="478"/>
            <ac:spMkLst>
              <pc:docMk/>
              <pc:sldMasterMk cId="2577300477" sldId="2147483682"/>
              <pc:sldLayoutMk cId="3723084566" sldId="2147483687"/>
              <ac:spMk id="10" creationId="{E0E615F8-C860-3438-4F95-3B24506556A5}"/>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11" creationId="{A68C3E72-F693-7559-AAF6-61EA94C0C28B}"/>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12" creationId="{E0CE4AAE-1648-1D62-6094-CF504414781F}"/>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13" creationId="{E657B070-70B8-C1C2-4932-6C0CB58FBA6A}"/>
            </ac:spMkLst>
          </pc:spChg>
          <pc:spChg chg="del mod">
            <ac:chgData name="Jamie Scragg" userId="78393e63-83b5-46e1-9b95-06d8847ad779" providerId="ADAL" clId="{F3E26095-6852-42F4-9C59-092D7B945D71}" dt="2023-11-08T11:11:43.020" v="3805" actId="478"/>
            <ac:spMkLst>
              <pc:docMk/>
              <pc:sldMasterMk cId="2577300477" sldId="2147483682"/>
              <pc:sldLayoutMk cId="3723084566" sldId="2147483687"/>
              <ac:spMk id="14" creationId="{1DC3A713-0E55-56EA-ED61-3829679C820A}"/>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15" creationId="{C98FCBD2-1F65-060F-E751-B9D0ECF078B1}"/>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16" creationId="{23F32123-A872-3430-6FC6-64E4B1577761}"/>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17" creationId="{95919960-4BC0-0D28-02E6-0289D313DA98}"/>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18" creationId="{29F3C61E-0B86-53EA-4DB1-BE19385DC161}"/>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19" creationId="{BB0079BB-B65E-4304-0D23-29637EB4AB7A}"/>
            </ac:spMkLst>
          </pc:spChg>
          <pc:spChg chg="del">
            <ac:chgData name="Jamie Scragg" userId="78393e63-83b5-46e1-9b95-06d8847ad779" providerId="ADAL" clId="{F3E26095-6852-42F4-9C59-092D7B945D71}" dt="2023-11-08T11:11:40.527" v="3802" actId="478"/>
            <ac:spMkLst>
              <pc:docMk/>
              <pc:sldMasterMk cId="2577300477" sldId="2147483682"/>
              <pc:sldLayoutMk cId="3723084566" sldId="2147483687"/>
              <ac:spMk id="20" creationId="{DB81BFBA-E78C-E8B4-DB30-A0CE257D9673}"/>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21" creationId="{925F78C8-430A-843F-2B7C-95CCE0D6537C}"/>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22" creationId="{E84D3D8D-7518-439A-FB24-B1591DD90EFD}"/>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23" creationId="{B03A20F5-98AB-4FFE-F901-BFE06E7E22F7}"/>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24" creationId="{56BAC791-8562-CA57-EF42-00E23A46B760}"/>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25" creationId="{D04F4399-784B-180A-7D67-DA45F50B0A3E}"/>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26" creationId="{5296147A-13AF-C2AA-955F-5B9C7F1D3898}"/>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27" creationId="{10253D3F-F126-E266-E3FF-012052227225}"/>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28" creationId="{CB729936-C4BB-042B-5B6D-24A9B310D56A}"/>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29" creationId="{AD91896A-036A-9317-93F1-E7F2BACD1B71}"/>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30" creationId="{7C8CBBBB-AD6C-EF88-F707-59DED3348E79}"/>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31" creationId="{9DFD6198-131C-370E-C3F1-218A53A55560}"/>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32" creationId="{862E1491-048B-43C1-2064-E033B214DC0B}"/>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33" creationId="{6E16E782-F547-63A6-D6CC-3F449D4C199C}"/>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34" creationId="{9F630BFA-EA61-9EDA-E93F-CE42C7A497E7}"/>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35" creationId="{87224199-8D68-0BC6-BC9B-F863055D9199}"/>
            </ac:spMkLst>
          </pc:spChg>
          <pc:spChg chg="del">
            <ac:chgData name="Jamie Scragg" userId="78393e63-83b5-46e1-9b95-06d8847ad779" providerId="ADAL" clId="{F3E26095-6852-42F4-9C59-092D7B945D71}" dt="2023-11-08T11:29:40.172" v="4486" actId="478"/>
            <ac:spMkLst>
              <pc:docMk/>
              <pc:sldMasterMk cId="2577300477" sldId="2147483682"/>
              <pc:sldLayoutMk cId="3723084566" sldId="2147483687"/>
              <ac:spMk id="36" creationId="{AF42AA87-D123-A3FD-2F0A-2BBDB4031096}"/>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37" creationId="{288B52F3-381D-2C88-EFF9-ACB11A9180FA}"/>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38" creationId="{3FCB6B46-A56B-2BE9-4D4B-C94A8E8DE3B9}"/>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39" creationId="{AF42289B-F6A2-8FE4-3FED-1C33D968679A}"/>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40" creationId="{ACBC201D-85B7-9477-5DBE-25AD11654391}"/>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41" creationId="{45F7B0E5-B5F2-FD97-5AAC-B34F01B516F6}"/>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42" creationId="{FF998628-4833-C9C4-456F-EB7C301AEE0B}"/>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43" creationId="{9130603A-6721-1DAA-6223-819BF7F1D968}"/>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44" creationId="{A4CBD655-6E3C-2D36-F058-156E9692C855}"/>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45" creationId="{B941D7EC-3C44-CC42-6A93-1F762568C9F8}"/>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46" creationId="{D442727B-82A6-4FF1-F5BC-5589AB2B7A3A}"/>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47" creationId="{EE0C5E19-E3F5-0812-8279-8802BCC297EE}"/>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48" creationId="{F98C764B-384D-8519-C748-040BB41E519E}"/>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49" creationId="{A1D27C94-CBB4-2E42-9BF1-E5CAD1B6E04D}"/>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50" creationId="{0FFD2451-21CE-8405-4EC4-ADB0239FA9FA}"/>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51" creationId="{C15F297C-D075-BBA9-CFFD-00EE1F450D68}"/>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52" creationId="{537B679A-78D2-02D6-EAD2-2331358BF672}"/>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53" creationId="{C0911EB6-10D9-40DA-B22A-CA8DC036DA3E}"/>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54" creationId="{08BEBE42-A248-8AD0-E1BA-E77828DD74EA}"/>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55" creationId="{87F5B37C-C1F1-DCCA-4D71-06E898C6B473}"/>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56" creationId="{ECA52641-4AA3-E61C-57F5-96D7DD763103}"/>
            </ac:spMkLst>
          </pc:spChg>
          <pc:spChg chg="add mod">
            <ac:chgData name="Jamie Scragg" userId="78393e63-83b5-46e1-9b95-06d8847ad779" providerId="ADAL" clId="{F3E26095-6852-42F4-9C59-092D7B945D71}" dt="2023-11-08T11:29:51.746" v="4487"/>
            <ac:spMkLst>
              <pc:docMk/>
              <pc:sldMasterMk cId="2577300477" sldId="2147483682"/>
              <pc:sldLayoutMk cId="3723084566" sldId="2147483687"/>
              <ac:spMk id="57" creationId="{A216F439-37C4-918C-26B7-BF3B7A4A0108}"/>
            </ac:spMkLst>
          </pc:spChg>
        </pc:sldLayoutChg>
        <pc:sldLayoutChg chg="modSp mod">
          <pc:chgData name="Jamie Scragg" userId="78393e63-83b5-46e1-9b95-06d8847ad779" providerId="ADAL" clId="{F3E26095-6852-42F4-9C59-092D7B945D71}" dt="2023-11-06T14:42:39.347" v="792" actId="20577"/>
          <pc:sldLayoutMkLst>
            <pc:docMk/>
            <pc:sldMasterMk cId="2577300477" sldId="2147483682"/>
            <pc:sldLayoutMk cId="2612108031" sldId="2147483726"/>
          </pc:sldLayoutMkLst>
          <pc:spChg chg="mod">
            <ac:chgData name="Jamie Scragg" userId="78393e63-83b5-46e1-9b95-06d8847ad779" providerId="ADAL" clId="{F3E26095-6852-42F4-9C59-092D7B945D71}" dt="2023-11-06T14:42:30.957" v="770" actId="1076"/>
            <ac:spMkLst>
              <pc:docMk/>
              <pc:sldMasterMk cId="2577300477" sldId="2147483682"/>
              <pc:sldLayoutMk cId="2612108031" sldId="2147483726"/>
              <ac:spMk id="4" creationId="{B0493814-CBE9-4944-94ED-23A55DEF0E28}"/>
            </ac:spMkLst>
          </pc:spChg>
          <pc:spChg chg="mod">
            <ac:chgData name="Jamie Scragg" userId="78393e63-83b5-46e1-9b95-06d8847ad779" providerId="ADAL" clId="{F3E26095-6852-42F4-9C59-092D7B945D71}" dt="2023-11-06T14:42:39.347" v="792" actId="20577"/>
            <ac:spMkLst>
              <pc:docMk/>
              <pc:sldMasterMk cId="2577300477" sldId="2147483682"/>
              <pc:sldLayoutMk cId="2612108031" sldId="2147483726"/>
              <ac:spMk id="21" creationId="{41375E89-CCDD-3544-923E-3FB4D592C35A}"/>
            </ac:spMkLst>
          </pc:spChg>
        </pc:sldLayoutChg>
        <pc:sldLayoutChg chg="delSp mod">
          <pc:chgData name="Jamie Scragg" userId="78393e63-83b5-46e1-9b95-06d8847ad779" providerId="ADAL" clId="{F3E26095-6852-42F4-9C59-092D7B945D71}" dt="2023-11-06T15:20:24.335" v="793" actId="478"/>
          <pc:sldLayoutMkLst>
            <pc:docMk/>
            <pc:sldMasterMk cId="2577300477" sldId="2147483682"/>
            <pc:sldLayoutMk cId="3198541785" sldId="2147483727"/>
          </pc:sldLayoutMkLst>
          <pc:spChg chg="del">
            <ac:chgData name="Jamie Scragg" userId="78393e63-83b5-46e1-9b95-06d8847ad779" providerId="ADAL" clId="{F3E26095-6852-42F4-9C59-092D7B945D71}" dt="2023-11-06T15:20:24.335" v="793" actId="478"/>
            <ac:spMkLst>
              <pc:docMk/>
              <pc:sldMasterMk cId="2577300477" sldId="2147483682"/>
              <pc:sldLayoutMk cId="3198541785" sldId="2147483727"/>
              <ac:spMk id="10" creationId="{7590F128-2909-4404-9D6E-0988145D5871}"/>
            </ac:spMkLst>
          </pc:spChg>
        </pc:sldLayoutChg>
      </pc:sldMasterChg>
      <pc:sldMasterChg chg="new del mod addSldLayout delSldLayout">
        <pc:chgData name="Jamie Scragg" userId="78393e63-83b5-46e1-9b95-06d8847ad779" providerId="ADAL" clId="{F3E26095-6852-42F4-9C59-092D7B945D71}" dt="2023-11-08T11:29:29.184" v="4485" actId="6938"/>
        <pc:sldMasterMkLst>
          <pc:docMk/>
          <pc:sldMasterMk cId="3769925115" sldId="2147483732"/>
        </pc:sldMasterMkLst>
        <pc:sldLayoutChg chg="new del replId">
          <pc:chgData name="Jamie Scragg" userId="78393e63-83b5-46e1-9b95-06d8847ad779" providerId="ADAL" clId="{F3E26095-6852-42F4-9C59-092D7B945D71}" dt="2023-11-08T11:29:29.184" v="4485" actId="6938"/>
          <pc:sldLayoutMkLst>
            <pc:docMk/>
            <pc:sldMasterMk cId="3769925115" sldId="2147483732"/>
            <pc:sldLayoutMk cId="532003892" sldId="2147483733"/>
          </pc:sldLayoutMkLst>
        </pc:sldLayoutChg>
        <pc:sldLayoutChg chg="new del replId">
          <pc:chgData name="Jamie Scragg" userId="78393e63-83b5-46e1-9b95-06d8847ad779" providerId="ADAL" clId="{F3E26095-6852-42F4-9C59-092D7B945D71}" dt="2023-11-08T11:29:29.184" v="4485" actId="6938"/>
          <pc:sldLayoutMkLst>
            <pc:docMk/>
            <pc:sldMasterMk cId="3769925115" sldId="2147483732"/>
            <pc:sldLayoutMk cId="2979711342" sldId="2147483734"/>
          </pc:sldLayoutMkLst>
        </pc:sldLayoutChg>
        <pc:sldLayoutChg chg="new del replId">
          <pc:chgData name="Jamie Scragg" userId="78393e63-83b5-46e1-9b95-06d8847ad779" providerId="ADAL" clId="{F3E26095-6852-42F4-9C59-092D7B945D71}" dt="2023-11-08T11:29:29.184" v="4485" actId="6938"/>
          <pc:sldLayoutMkLst>
            <pc:docMk/>
            <pc:sldMasterMk cId="3769925115" sldId="2147483732"/>
            <pc:sldLayoutMk cId="752383787" sldId="2147483735"/>
          </pc:sldLayoutMkLst>
        </pc:sldLayoutChg>
        <pc:sldLayoutChg chg="new del replId">
          <pc:chgData name="Jamie Scragg" userId="78393e63-83b5-46e1-9b95-06d8847ad779" providerId="ADAL" clId="{F3E26095-6852-42F4-9C59-092D7B945D71}" dt="2023-11-08T11:29:29.184" v="4485" actId="6938"/>
          <pc:sldLayoutMkLst>
            <pc:docMk/>
            <pc:sldMasterMk cId="3769925115" sldId="2147483732"/>
            <pc:sldLayoutMk cId="586365457" sldId="2147483736"/>
          </pc:sldLayoutMkLst>
        </pc:sldLayoutChg>
        <pc:sldLayoutChg chg="new del replId">
          <pc:chgData name="Jamie Scragg" userId="78393e63-83b5-46e1-9b95-06d8847ad779" providerId="ADAL" clId="{F3E26095-6852-42F4-9C59-092D7B945D71}" dt="2023-11-08T11:29:29.184" v="4485" actId="6938"/>
          <pc:sldLayoutMkLst>
            <pc:docMk/>
            <pc:sldMasterMk cId="3769925115" sldId="2147483732"/>
            <pc:sldLayoutMk cId="4207133259" sldId="2147483737"/>
          </pc:sldLayoutMkLst>
        </pc:sldLayoutChg>
        <pc:sldLayoutChg chg="new del replId">
          <pc:chgData name="Jamie Scragg" userId="78393e63-83b5-46e1-9b95-06d8847ad779" providerId="ADAL" clId="{F3E26095-6852-42F4-9C59-092D7B945D71}" dt="2023-11-08T11:29:29.184" v="4485" actId="6938"/>
          <pc:sldLayoutMkLst>
            <pc:docMk/>
            <pc:sldMasterMk cId="3769925115" sldId="2147483732"/>
            <pc:sldLayoutMk cId="3572761856" sldId="2147483738"/>
          </pc:sldLayoutMkLst>
        </pc:sldLayoutChg>
        <pc:sldLayoutChg chg="new del replId">
          <pc:chgData name="Jamie Scragg" userId="78393e63-83b5-46e1-9b95-06d8847ad779" providerId="ADAL" clId="{F3E26095-6852-42F4-9C59-092D7B945D71}" dt="2023-11-08T11:29:29.184" v="4485" actId="6938"/>
          <pc:sldLayoutMkLst>
            <pc:docMk/>
            <pc:sldMasterMk cId="3769925115" sldId="2147483732"/>
            <pc:sldLayoutMk cId="497107106" sldId="2147483739"/>
          </pc:sldLayoutMkLst>
        </pc:sldLayoutChg>
        <pc:sldLayoutChg chg="new del replId">
          <pc:chgData name="Jamie Scragg" userId="78393e63-83b5-46e1-9b95-06d8847ad779" providerId="ADAL" clId="{F3E26095-6852-42F4-9C59-092D7B945D71}" dt="2023-11-08T11:29:29.184" v="4485" actId="6938"/>
          <pc:sldLayoutMkLst>
            <pc:docMk/>
            <pc:sldMasterMk cId="3769925115" sldId="2147483732"/>
            <pc:sldLayoutMk cId="3850324306" sldId="2147483740"/>
          </pc:sldLayoutMkLst>
        </pc:sldLayoutChg>
        <pc:sldLayoutChg chg="new del replId">
          <pc:chgData name="Jamie Scragg" userId="78393e63-83b5-46e1-9b95-06d8847ad779" providerId="ADAL" clId="{F3E26095-6852-42F4-9C59-092D7B945D71}" dt="2023-11-08T11:29:29.184" v="4485" actId="6938"/>
          <pc:sldLayoutMkLst>
            <pc:docMk/>
            <pc:sldMasterMk cId="3769925115" sldId="2147483732"/>
            <pc:sldLayoutMk cId="4237204567" sldId="2147483741"/>
          </pc:sldLayoutMkLst>
        </pc:sldLayoutChg>
        <pc:sldLayoutChg chg="new del replId">
          <pc:chgData name="Jamie Scragg" userId="78393e63-83b5-46e1-9b95-06d8847ad779" providerId="ADAL" clId="{F3E26095-6852-42F4-9C59-092D7B945D71}" dt="2023-11-08T11:29:29.184" v="4485" actId="6938"/>
          <pc:sldLayoutMkLst>
            <pc:docMk/>
            <pc:sldMasterMk cId="3769925115" sldId="2147483732"/>
            <pc:sldLayoutMk cId="1693591903" sldId="2147483742"/>
          </pc:sldLayoutMkLst>
        </pc:sldLayoutChg>
        <pc:sldLayoutChg chg="new del replId">
          <pc:chgData name="Jamie Scragg" userId="78393e63-83b5-46e1-9b95-06d8847ad779" providerId="ADAL" clId="{F3E26095-6852-42F4-9C59-092D7B945D71}" dt="2023-11-08T11:29:29.184" v="4485" actId="6938"/>
          <pc:sldLayoutMkLst>
            <pc:docMk/>
            <pc:sldMasterMk cId="3769925115" sldId="2147483732"/>
            <pc:sldLayoutMk cId="1204618601" sldId="2147483743"/>
          </pc:sldLayoutMkLst>
        </pc:sldLayoutChg>
      </pc:sldMasterChg>
    </pc:docChg>
  </pc:docChgLst>
  <pc:docChgLst>
    <pc:chgData name="Ian Ma" userId="S::ian.ma@ba.com::040dbc55-79cb-41a3-ad64-16484e61cc10" providerId="AD" clId="Web-{16A6DFD1-1FF0-2441-B245-0FBC9F2D2EEB}"/>
    <pc:docChg chg="modSld">
      <pc:chgData name="Ian Ma" userId="S::ian.ma@ba.com::040dbc55-79cb-41a3-ad64-16484e61cc10" providerId="AD" clId="Web-{16A6DFD1-1FF0-2441-B245-0FBC9F2D2EEB}" dt="2023-11-06T15:29:28.574" v="216" actId="20577"/>
      <pc:docMkLst>
        <pc:docMk/>
      </pc:docMkLst>
      <pc:sldChg chg="modSp">
        <pc:chgData name="Ian Ma" userId="S::ian.ma@ba.com::040dbc55-79cb-41a3-ad64-16484e61cc10" providerId="AD" clId="Web-{16A6DFD1-1FF0-2441-B245-0FBC9F2D2EEB}" dt="2023-11-06T14:59:10.909" v="123" actId="20577"/>
        <pc:sldMkLst>
          <pc:docMk/>
          <pc:sldMk cId="643536664" sldId="342"/>
        </pc:sldMkLst>
        <pc:spChg chg="mod">
          <ac:chgData name="Ian Ma" userId="S::ian.ma@ba.com::040dbc55-79cb-41a3-ad64-16484e61cc10" providerId="AD" clId="Web-{16A6DFD1-1FF0-2441-B245-0FBC9F2D2EEB}" dt="2023-11-06T14:52:26.914" v="49" actId="20577"/>
          <ac:spMkLst>
            <pc:docMk/>
            <pc:sldMk cId="643536664" sldId="342"/>
            <ac:spMk id="3" creationId="{A236BAFD-D543-3317-0CE4-9309F42BBA28}"/>
          </ac:spMkLst>
        </pc:spChg>
        <pc:spChg chg="mod">
          <ac:chgData name="Ian Ma" userId="S::ian.ma@ba.com::040dbc55-79cb-41a3-ad64-16484e61cc10" providerId="AD" clId="Web-{16A6DFD1-1FF0-2441-B245-0FBC9F2D2EEB}" dt="2023-11-06T14:59:10.909" v="123" actId="20577"/>
          <ac:spMkLst>
            <pc:docMk/>
            <pc:sldMk cId="643536664" sldId="342"/>
            <ac:spMk id="4" creationId="{532F815F-0D1F-2B88-13E1-165CB045F3AC}"/>
          </ac:spMkLst>
        </pc:spChg>
        <pc:spChg chg="mod">
          <ac:chgData name="Ian Ma" userId="S::ian.ma@ba.com::040dbc55-79cb-41a3-ad64-16484e61cc10" providerId="AD" clId="Web-{16A6DFD1-1FF0-2441-B245-0FBC9F2D2EEB}" dt="2023-11-06T14:51:28.691" v="10" actId="20577"/>
          <ac:spMkLst>
            <pc:docMk/>
            <pc:sldMk cId="643536664" sldId="342"/>
            <ac:spMk id="6" creationId="{91E8C238-3AE2-86D1-8FA5-48EE41EBA0BB}"/>
          </ac:spMkLst>
        </pc:spChg>
      </pc:sldChg>
      <pc:sldChg chg="modSp">
        <pc:chgData name="Ian Ma" userId="S::ian.ma@ba.com::040dbc55-79cb-41a3-ad64-16484e61cc10" providerId="AD" clId="Web-{16A6DFD1-1FF0-2441-B245-0FBC9F2D2EEB}" dt="2023-11-06T15:18:40.219" v="150" actId="20577"/>
        <pc:sldMkLst>
          <pc:docMk/>
          <pc:sldMk cId="1127646338" sldId="350"/>
        </pc:sldMkLst>
        <pc:spChg chg="mod">
          <ac:chgData name="Ian Ma" userId="S::ian.ma@ba.com::040dbc55-79cb-41a3-ad64-16484e61cc10" providerId="AD" clId="Web-{16A6DFD1-1FF0-2441-B245-0FBC9F2D2EEB}" dt="2023-11-06T15:18:40.219" v="150" actId="20577"/>
          <ac:spMkLst>
            <pc:docMk/>
            <pc:sldMk cId="1127646338" sldId="350"/>
            <ac:spMk id="2" creationId="{10BD3CA5-63B5-0D6E-4F03-D47780DF0096}"/>
          </ac:spMkLst>
        </pc:spChg>
      </pc:sldChg>
      <pc:sldChg chg="modSp">
        <pc:chgData name="Ian Ma" userId="S::ian.ma@ba.com::040dbc55-79cb-41a3-ad64-16484e61cc10" providerId="AD" clId="Web-{16A6DFD1-1FF0-2441-B245-0FBC9F2D2EEB}" dt="2023-11-06T15:29:28.574" v="216" actId="20577"/>
        <pc:sldMkLst>
          <pc:docMk/>
          <pc:sldMk cId="286604274" sldId="352"/>
        </pc:sldMkLst>
        <pc:spChg chg="mod">
          <ac:chgData name="Ian Ma" userId="S::ian.ma@ba.com::040dbc55-79cb-41a3-ad64-16484e61cc10" providerId="AD" clId="Web-{16A6DFD1-1FF0-2441-B245-0FBC9F2D2EEB}" dt="2023-11-06T15:29:28.574" v="216" actId="20577"/>
          <ac:spMkLst>
            <pc:docMk/>
            <pc:sldMk cId="286604274" sldId="352"/>
            <ac:spMk id="6" creationId="{29D1D040-4603-003F-CB4F-95780A5FD081}"/>
          </ac:spMkLst>
        </pc:spChg>
      </pc:sldChg>
    </pc:docChg>
  </pc:docChgLst>
  <pc:docChgLst>
    <pc:chgData name="Ian Ma" userId="S::ian.ma@ba.com::040dbc55-79cb-41a3-ad64-16484e61cc10" providerId="AD" clId="Web-{4BA6BFEB-77AB-A05A-C8F8-14A5C5615323}"/>
    <pc:docChg chg="modSld sldOrd">
      <pc:chgData name="Ian Ma" userId="S::ian.ma@ba.com::040dbc55-79cb-41a3-ad64-16484e61cc10" providerId="AD" clId="Web-{4BA6BFEB-77AB-A05A-C8F8-14A5C5615323}" dt="2023-11-08T14:35:23.476" v="1741"/>
      <pc:docMkLst>
        <pc:docMk/>
      </pc:docMkLst>
      <pc:sldChg chg="modNotes">
        <pc:chgData name="Ian Ma" userId="S::ian.ma@ba.com::040dbc55-79cb-41a3-ad64-16484e61cc10" providerId="AD" clId="Web-{4BA6BFEB-77AB-A05A-C8F8-14A5C5615323}" dt="2023-11-08T13:23:12.323" v="360"/>
        <pc:sldMkLst>
          <pc:docMk/>
          <pc:sldMk cId="380097703" sldId="336"/>
        </pc:sldMkLst>
      </pc:sldChg>
      <pc:sldChg chg="ord">
        <pc:chgData name="Ian Ma" userId="S::ian.ma@ba.com::040dbc55-79cb-41a3-ad64-16484e61cc10" providerId="AD" clId="Web-{4BA6BFEB-77AB-A05A-C8F8-14A5C5615323}" dt="2023-11-08T13:48:29.695" v="1167"/>
        <pc:sldMkLst>
          <pc:docMk/>
          <pc:sldMk cId="2453761382" sldId="360"/>
        </pc:sldMkLst>
      </pc:sldChg>
      <pc:sldChg chg="modNotes">
        <pc:chgData name="Ian Ma" userId="S::ian.ma@ba.com::040dbc55-79cb-41a3-ad64-16484e61cc10" providerId="AD" clId="Web-{4BA6BFEB-77AB-A05A-C8F8-14A5C5615323}" dt="2023-11-08T14:35:23.476" v="1741"/>
        <pc:sldMkLst>
          <pc:docMk/>
          <pc:sldMk cId="4000309285" sldId="365"/>
        </pc:sldMkLst>
      </pc:sldChg>
      <pc:sldChg chg="modSp ord modNotes">
        <pc:chgData name="Ian Ma" userId="S::ian.ma@ba.com::040dbc55-79cb-41a3-ad64-16484e61cc10" providerId="AD" clId="Web-{4BA6BFEB-77AB-A05A-C8F8-14A5C5615323}" dt="2023-11-08T14:14:17.599" v="1686"/>
        <pc:sldMkLst>
          <pc:docMk/>
          <pc:sldMk cId="2394982353" sldId="366"/>
        </pc:sldMkLst>
        <pc:spChg chg="mod">
          <ac:chgData name="Ian Ma" userId="S::ian.ma@ba.com::040dbc55-79cb-41a3-ad64-16484e61cc10" providerId="AD" clId="Web-{4BA6BFEB-77AB-A05A-C8F8-14A5C5615323}" dt="2023-11-08T13:24:29.169" v="417" actId="20577"/>
          <ac:spMkLst>
            <pc:docMk/>
            <pc:sldMk cId="2394982353" sldId="366"/>
            <ac:spMk id="2" creationId="{0959F975-21BC-F0F3-371E-3EDE523C2F77}"/>
          </ac:spMkLst>
        </pc:spChg>
      </pc:sldChg>
      <pc:sldChg chg="modSp modNotes">
        <pc:chgData name="Ian Ma" userId="S::ian.ma@ba.com::040dbc55-79cb-41a3-ad64-16484e61cc10" providerId="AD" clId="Web-{4BA6BFEB-77AB-A05A-C8F8-14A5C5615323}" dt="2023-11-08T14:34:37.662" v="1720"/>
        <pc:sldMkLst>
          <pc:docMk/>
          <pc:sldMk cId="4277432714" sldId="367"/>
        </pc:sldMkLst>
        <pc:spChg chg="mod">
          <ac:chgData name="Ian Ma" userId="S::ian.ma@ba.com::040dbc55-79cb-41a3-ad64-16484e61cc10" providerId="AD" clId="Web-{4BA6BFEB-77AB-A05A-C8F8-14A5C5615323}" dt="2023-11-08T13:59:14.354" v="1365" actId="20577"/>
          <ac:spMkLst>
            <pc:docMk/>
            <pc:sldMk cId="4277432714" sldId="367"/>
            <ac:spMk id="3" creationId="{7C56B330-EEB5-9B56-76DB-779A5397ECCA}"/>
          </ac:spMkLst>
        </pc:spChg>
      </pc:sldChg>
    </pc:docChg>
  </pc:docChgLst>
  <pc:docChgLst>
    <pc:chgData name="George Daish" userId="0bdcf7b5-cff9-4b38-bda9-e3bf90847f0a" providerId="ADAL" clId="{834AC890-3824-4AD7-9EA9-19F98B9B7D57}"/>
    <pc:docChg chg="undo custSel addSld delSld modSld sldOrd modMainMaster">
      <pc:chgData name="George Daish" userId="0bdcf7b5-cff9-4b38-bda9-e3bf90847f0a" providerId="ADAL" clId="{834AC890-3824-4AD7-9EA9-19F98B9B7D57}" dt="2023-11-08T14:35:41.230" v="5839" actId="14734"/>
      <pc:docMkLst>
        <pc:docMk/>
      </pc:docMkLst>
      <pc:sldChg chg="del">
        <pc:chgData name="George Daish" userId="0bdcf7b5-cff9-4b38-bda9-e3bf90847f0a" providerId="ADAL" clId="{834AC890-3824-4AD7-9EA9-19F98B9B7D57}" dt="2023-11-08T10:38:58.590" v="2984" actId="2696"/>
        <pc:sldMkLst>
          <pc:docMk/>
          <pc:sldMk cId="2260954836" sldId="308"/>
        </pc:sldMkLst>
      </pc:sldChg>
      <pc:sldChg chg="addSp delSp modSp mod modNotesTx">
        <pc:chgData name="George Daish" userId="0bdcf7b5-cff9-4b38-bda9-e3bf90847f0a" providerId="ADAL" clId="{834AC890-3824-4AD7-9EA9-19F98B9B7D57}" dt="2023-11-08T14:35:41.230" v="5839" actId="14734"/>
        <pc:sldMkLst>
          <pc:docMk/>
          <pc:sldMk cId="380097703" sldId="336"/>
        </pc:sldMkLst>
        <pc:spChg chg="add del">
          <ac:chgData name="George Daish" userId="0bdcf7b5-cff9-4b38-bda9-e3bf90847f0a" providerId="ADAL" clId="{834AC890-3824-4AD7-9EA9-19F98B9B7D57}" dt="2023-11-08T14:35:32.321" v="5837" actId="22"/>
          <ac:spMkLst>
            <pc:docMk/>
            <pc:sldMk cId="380097703" sldId="336"/>
            <ac:spMk id="10" creationId="{30BD2782-15EC-5248-5F55-32E25B3B490C}"/>
          </ac:spMkLst>
        </pc:spChg>
        <pc:graphicFrameChg chg="modGraphic">
          <ac:chgData name="George Daish" userId="0bdcf7b5-cff9-4b38-bda9-e3bf90847f0a" providerId="ADAL" clId="{834AC890-3824-4AD7-9EA9-19F98B9B7D57}" dt="2023-11-08T14:35:41.230" v="5839" actId="14734"/>
          <ac:graphicFrameMkLst>
            <pc:docMk/>
            <pc:sldMk cId="380097703" sldId="336"/>
            <ac:graphicFrameMk id="7" creationId="{3C7159B7-7C5C-50B8-D4FC-A81AA67C9A20}"/>
          </ac:graphicFrameMkLst>
        </pc:graphicFrameChg>
        <pc:cxnChg chg="add mod">
          <ac:chgData name="George Daish" userId="0bdcf7b5-cff9-4b38-bda9-e3bf90847f0a" providerId="ADAL" clId="{834AC890-3824-4AD7-9EA9-19F98B9B7D57}" dt="2023-11-08T13:09:22.549" v="3046" actId="14100"/>
          <ac:cxnSpMkLst>
            <pc:docMk/>
            <pc:sldMk cId="380097703" sldId="336"/>
            <ac:cxnSpMk id="5" creationId="{3A3ABAD4-FA3B-A272-64E9-3215425582FA}"/>
          </ac:cxnSpMkLst>
        </pc:cxnChg>
      </pc:sldChg>
      <pc:sldChg chg="del">
        <pc:chgData name="George Daish" userId="0bdcf7b5-cff9-4b38-bda9-e3bf90847f0a" providerId="ADAL" clId="{834AC890-3824-4AD7-9EA9-19F98B9B7D57}" dt="2023-11-08T10:38:48.698" v="2982" actId="2696"/>
        <pc:sldMkLst>
          <pc:docMk/>
          <pc:sldMk cId="1086536072" sldId="345"/>
        </pc:sldMkLst>
      </pc:sldChg>
      <pc:sldChg chg="modSp mod ord">
        <pc:chgData name="George Daish" userId="0bdcf7b5-cff9-4b38-bda9-e3bf90847f0a" providerId="ADAL" clId="{834AC890-3824-4AD7-9EA9-19F98B9B7D57}" dt="2023-11-08T10:36:05.978" v="2979" actId="1076"/>
        <pc:sldMkLst>
          <pc:docMk/>
          <pc:sldMk cId="1127646338" sldId="350"/>
        </pc:sldMkLst>
        <pc:spChg chg="mod">
          <ac:chgData name="George Daish" userId="0bdcf7b5-cff9-4b38-bda9-e3bf90847f0a" providerId="ADAL" clId="{834AC890-3824-4AD7-9EA9-19F98B9B7D57}" dt="2023-11-08T10:36:05.978" v="2979" actId="1076"/>
          <ac:spMkLst>
            <pc:docMk/>
            <pc:sldMk cId="1127646338" sldId="350"/>
            <ac:spMk id="2" creationId="{10BD3CA5-63B5-0D6E-4F03-D47780DF0096}"/>
          </ac:spMkLst>
        </pc:spChg>
        <pc:spChg chg="mod">
          <ac:chgData name="George Daish" userId="0bdcf7b5-cff9-4b38-bda9-e3bf90847f0a" providerId="ADAL" clId="{834AC890-3824-4AD7-9EA9-19F98B9B7D57}" dt="2023-11-07T14:48:21.942" v="2020" actId="20577"/>
          <ac:spMkLst>
            <pc:docMk/>
            <pc:sldMk cId="1127646338" sldId="350"/>
            <ac:spMk id="3" creationId="{E303B717-07DA-E152-7424-40885222EA35}"/>
          </ac:spMkLst>
        </pc:spChg>
      </pc:sldChg>
      <pc:sldChg chg="del">
        <pc:chgData name="George Daish" userId="0bdcf7b5-cff9-4b38-bda9-e3bf90847f0a" providerId="ADAL" clId="{834AC890-3824-4AD7-9EA9-19F98B9B7D57}" dt="2023-11-08T10:38:40.279" v="2981" actId="2696"/>
        <pc:sldMkLst>
          <pc:docMk/>
          <pc:sldMk cId="3547057334" sldId="351"/>
        </pc:sldMkLst>
      </pc:sldChg>
      <pc:sldChg chg="addSp delSp modSp mod modNotesTx">
        <pc:chgData name="George Daish" userId="0bdcf7b5-cff9-4b38-bda9-e3bf90847f0a" providerId="ADAL" clId="{834AC890-3824-4AD7-9EA9-19F98B9B7D57}" dt="2023-11-08T14:10:10.832" v="5835" actId="313"/>
        <pc:sldMkLst>
          <pc:docMk/>
          <pc:sldMk cId="2741567555" sldId="353"/>
        </pc:sldMkLst>
        <pc:spChg chg="mod">
          <ac:chgData name="George Daish" userId="0bdcf7b5-cff9-4b38-bda9-e3bf90847f0a" providerId="ADAL" clId="{834AC890-3824-4AD7-9EA9-19F98B9B7D57}" dt="2023-11-07T17:41:24.401" v="2537" actId="20577"/>
          <ac:spMkLst>
            <pc:docMk/>
            <pc:sldMk cId="2741567555" sldId="353"/>
            <ac:spMk id="2" creationId="{67319747-7DAA-CAD1-6B1B-2A0B8EF75625}"/>
          </ac:spMkLst>
        </pc:spChg>
        <pc:picChg chg="add del mod">
          <ac:chgData name="George Daish" userId="0bdcf7b5-cff9-4b38-bda9-e3bf90847f0a" providerId="ADAL" clId="{834AC890-3824-4AD7-9EA9-19F98B9B7D57}" dt="2023-11-07T12:42:56.630" v="11" actId="478"/>
          <ac:picMkLst>
            <pc:docMk/>
            <pc:sldMk cId="2741567555" sldId="353"/>
            <ac:picMk id="4" creationId="{B0E81A28-176E-228C-ADA8-2B2B7E47B54C}"/>
          </ac:picMkLst>
        </pc:picChg>
        <pc:picChg chg="add mod">
          <ac:chgData name="George Daish" userId="0bdcf7b5-cff9-4b38-bda9-e3bf90847f0a" providerId="ADAL" clId="{834AC890-3824-4AD7-9EA9-19F98B9B7D57}" dt="2023-11-07T16:57:21.180" v="2259" actId="1037"/>
          <ac:picMkLst>
            <pc:docMk/>
            <pc:sldMk cId="2741567555" sldId="353"/>
            <ac:picMk id="6" creationId="{AD7AD7E3-6059-C69F-F26D-ED97FF52CCC1}"/>
          </ac:picMkLst>
        </pc:picChg>
        <pc:picChg chg="add mod">
          <ac:chgData name="George Daish" userId="0bdcf7b5-cff9-4b38-bda9-e3bf90847f0a" providerId="ADAL" clId="{834AC890-3824-4AD7-9EA9-19F98B9B7D57}" dt="2023-11-07T16:57:21.180" v="2259" actId="1037"/>
          <ac:picMkLst>
            <pc:docMk/>
            <pc:sldMk cId="2741567555" sldId="353"/>
            <ac:picMk id="8" creationId="{5EAEA131-D25A-0ACF-A56C-1DAC0E5F5EFE}"/>
          </ac:picMkLst>
        </pc:picChg>
      </pc:sldChg>
      <pc:sldChg chg="addSp modSp mod">
        <pc:chgData name="George Daish" userId="0bdcf7b5-cff9-4b38-bda9-e3bf90847f0a" providerId="ADAL" clId="{834AC890-3824-4AD7-9EA9-19F98B9B7D57}" dt="2023-11-07T14:43:50.586" v="1820" actId="1440"/>
        <pc:sldMkLst>
          <pc:docMk/>
          <pc:sldMk cId="125496638" sldId="354"/>
        </pc:sldMkLst>
        <pc:spChg chg="mod">
          <ac:chgData name="George Daish" userId="0bdcf7b5-cff9-4b38-bda9-e3bf90847f0a" providerId="ADAL" clId="{834AC890-3824-4AD7-9EA9-19F98B9B7D57}" dt="2023-11-07T13:00:18.735" v="193" actId="5793"/>
          <ac:spMkLst>
            <pc:docMk/>
            <pc:sldMk cId="125496638" sldId="354"/>
            <ac:spMk id="3" creationId="{5DBCAE0B-1ED0-9C31-E18B-C57813BCF0CA}"/>
          </ac:spMkLst>
        </pc:spChg>
        <pc:picChg chg="add mod">
          <ac:chgData name="George Daish" userId="0bdcf7b5-cff9-4b38-bda9-e3bf90847f0a" providerId="ADAL" clId="{834AC890-3824-4AD7-9EA9-19F98B9B7D57}" dt="2023-11-07T14:43:50.586" v="1820" actId="1440"/>
          <ac:picMkLst>
            <pc:docMk/>
            <pc:sldMk cId="125496638" sldId="354"/>
            <ac:picMk id="5" creationId="{F9A5E620-266B-5345-661B-1431D7F19695}"/>
          </ac:picMkLst>
        </pc:picChg>
      </pc:sldChg>
      <pc:sldChg chg="addSp modSp mod modNotesTx">
        <pc:chgData name="George Daish" userId="0bdcf7b5-cff9-4b38-bda9-e3bf90847f0a" providerId="ADAL" clId="{834AC890-3824-4AD7-9EA9-19F98B9B7D57}" dt="2023-11-08T10:51:51.032" v="3022" actId="1036"/>
        <pc:sldMkLst>
          <pc:docMk/>
          <pc:sldMk cId="3132676434" sldId="355"/>
        </pc:sldMkLst>
        <pc:spChg chg="mod">
          <ac:chgData name="George Daish" userId="0bdcf7b5-cff9-4b38-bda9-e3bf90847f0a" providerId="ADAL" clId="{834AC890-3824-4AD7-9EA9-19F98B9B7D57}" dt="2023-11-07T14:00:31.578" v="451" actId="20577"/>
          <ac:spMkLst>
            <pc:docMk/>
            <pc:sldMk cId="3132676434" sldId="355"/>
            <ac:spMk id="3" creationId="{4014D9D7-9793-03AC-E23D-56E860C20465}"/>
          </ac:spMkLst>
        </pc:spChg>
        <pc:picChg chg="add mod">
          <ac:chgData name="George Daish" userId="0bdcf7b5-cff9-4b38-bda9-e3bf90847f0a" providerId="ADAL" clId="{834AC890-3824-4AD7-9EA9-19F98B9B7D57}" dt="2023-11-08T10:51:51.032" v="3022" actId="1036"/>
          <ac:picMkLst>
            <pc:docMk/>
            <pc:sldMk cId="3132676434" sldId="355"/>
            <ac:picMk id="5" creationId="{5BF633B9-C479-792A-9F9C-A74506F91A96}"/>
          </ac:picMkLst>
        </pc:picChg>
      </pc:sldChg>
      <pc:sldChg chg="addSp delSp modSp mod">
        <pc:chgData name="George Daish" userId="0bdcf7b5-cff9-4b38-bda9-e3bf90847f0a" providerId="ADAL" clId="{834AC890-3824-4AD7-9EA9-19F98B9B7D57}" dt="2023-11-07T16:45:54.759" v="2167" actId="1440"/>
        <pc:sldMkLst>
          <pc:docMk/>
          <pc:sldMk cId="1376581799" sldId="356"/>
        </pc:sldMkLst>
        <pc:spChg chg="mod">
          <ac:chgData name="George Daish" userId="0bdcf7b5-cff9-4b38-bda9-e3bf90847f0a" providerId="ADAL" clId="{834AC890-3824-4AD7-9EA9-19F98B9B7D57}" dt="2023-11-07T14:36:51.257" v="1769" actId="20577"/>
          <ac:spMkLst>
            <pc:docMk/>
            <pc:sldMk cId="1376581799" sldId="356"/>
            <ac:spMk id="2" creationId="{67319747-7DAA-CAD1-6B1B-2A0B8EF75625}"/>
          </ac:spMkLst>
        </pc:spChg>
        <pc:picChg chg="add del mod">
          <ac:chgData name="George Daish" userId="0bdcf7b5-cff9-4b38-bda9-e3bf90847f0a" providerId="ADAL" clId="{834AC890-3824-4AD7-9EA9-19F98B9B7D57}" dt="2023-11-07T16:45:33.609" v="2161" actId="478"/>
          <ac:picMkLst>
            <pc:docMk/>
            <pc:sldMk cId="1376581799" sldId="356"/>
            <ac:picMk id="5" creationId="{33BB60ED-13B6-C7AA-D3D9-1F16C71E0A69}"/>
          </ac:picMkLst>
        </pc:picChg>
        <pc:picChg chg="add mod">
          <ac:chgData name="George Daish" userId="0bdcf7b5-cff9-4b38-bda9-e3bf90847f0a" providerId="ADAL" clId="{834AC890-3824-4AD7-9EA9-19F98B9B7D57}" dt="2023-11-07T16:45:52.615" v="2166" actId="1440"/>
          <ac:picMkLst>
            <pc:docMk/>
            <pc:sldMk cId="1376581799" sldId="356"/>
            <ac:picMk id="7" creationId="{19A20E75-49C8-D636-2DF7-3775849008AC}"/>
          </ac:picMkLst>
        </pc:picChg>
        <pc:picChg chg="add mod">
          <ac:chgData name="George Daish" userId="0bdcf7b5-cff9-4b38-bda9-e3bf90847f0a" providerId="ADAL" clId="{834AC890-3824-4AD7-9EA9-19F98B9B7D57}" dt="2023-11-07T16:45:54.759" v="2167" actId="1440"/>
          <ac:picMkLst>
            <pc:docMk/>
            <pc:sldMk cId="1376581799" sldId="356"/>
            <ac:picMk id="9" creationId="{A31B7A66-F50B-5FA6-A2DE-4EBE38FAD364}"/>
          </ac:picMkLst>
        </pc:picChg>
      </pc:sldChg>
      <pc:sldChg chg="addSp delSp modSp del mod">
        <pc:chgData name="George Daish" userId="0bdcf7b5-cff9-4b38-bda9-e3bf90847f0a" providerId="ADAL" clId="{834AC890-3824-4AD7-9EA9-19F98B9B7D57}" dt="2023-11-07T14:12:07.030" v="1066" actId="2696"/>
        <pc:sldMkLst>
          <pc:docMk/>
          <pc:sldMk cId="660809886" sldId="357"/>
        </pc:sldMkLst>
        <pc:spChg chg="add del mod">
          <ac:chgData name="George Daish" userId="0bdcf7b5-cff9-4b38-bda9-e3bf90847f0a" providerId="ADAL" clId="{834AC890-3824-4AD7-9EA9-19F98B9B7D57}" dt="2023-11-07T14:11:27.607" v="1056"/>
          <ac:spMkLst>
            <pc:docMk/>
            <pc:sldMk cId="660809886" sldId="357"/>
            <ac:spMk id="3" creationId="{775435F3-6967-2AA1-A42C-1AD4A744F8A9}"/>
          </ac:spMkLst>
        </pc:spChg>
        <pc:spChg chg="add del mod">
          <ac:chgData name="George Daish" userId="0bdcf7b5-cff9-4b38-bda9-e3bf90847f0a" providerId="ADAL" clId="{834AC890-3824-4AD7-9EA9-19F98B9B7D57}" dt="2023-11-07T14:11:34.915" v="1058"/>
          <ac:spMkLst>
            <pc:docMk/>
            <pc:sldMk cId="660809886" sldId="357"/>
            <ac:spMk id="4" creationId="{17DDB073-6599-E9EB-E019-9E7C5406C08E}"/>
          </ac:spMkLst>
        </pc:spChg>
        <pc:spChg chg="add del">
          <ac:chgData name="George Daish" userId="0bdcf7b5-cff9-4b38-bda9-e3bf90847f0a" providerId="ADAL" clId="{834AC890-3824-4AD7-9EA9-19F98B9B7D57}" dt="2023-11-07T14:11:43.040" v="1060" actId="22"/>
          <ac:spMkLst>
            <pc:docMk/>
            <pc:sldMk cId="660809886" sldId="357"/>
            <ac:spMk id="6" creationId="{2B7F15D5-BD4C-70C7-93BE-22DE2085C122}"/>
          </ac:spMkLst>
        </pc:spChg>
      </pc:sldChg>
      <pc:sldChg chg="addSp modSp mod">
        <pc:chgData name="George Daish" userId="0bdcf7b5-cff9-4b38-bda9-e3bf90847f0a" providerId="ADAL" clId="{834AC890-3824-4AD7-9EA9-19F98B9B7D57}" dt="2023-11-07T17:55:23.947" v="2856" actId="1440"/>
        <pc:sldMkLst>
          <pc:docMk/>
          <pc:sldMk cId="4149907152" sldId="358"/>
        </pc:sldMkLst>
        <pc:spChg chg="mod">
          <ac:chgData name="George Daish" userId="0bdcf7b5-cff9-4b38-bda9-e3bf90847f0a" providerId="ADAL" clId="{834AC890-3824-4AD7-9EA9-19F98B9B7D57}" dt="2023-11-07T17:53:20.975" v="2855" actId="20577"/>
          <ac:spMkLst>
            <pc:docMk/>
            <pc:sldMk cId="4149907152" sldId="358"/>
            <ac:spMk id="2" creationId="{71757EC4-6200-3EEA-4EAC-1A0F0F52F597}"/>
          </ac:spMkLst>
        </pc:spChg>
        <pc:spChg chg="mod">
          <ac:chgData name="George Daish" userId="0bdcf7b5-cff9-4b38-bda9-e3bf90847f0a" providerId="ADAL" clId="{834AC890-3824-4AD7-9EA9-19F98B9B7D57}" dt="2023-11-07T17:52:32.326" v="2854" actId="14100"/>
          <ac:spMkLst>
            <pc:docMk/>
            <pc:sldMk cId="4149907152" sldId="358"/>
            <ac:spMk id="3" creationId="{DEDF222D-A50B-312E-0938-ACDE513107C5}"/>
          </ac:spMkLst>
        </pc:spChg>
        <pc:picChg chg="add mod">
          <ac:chgData name="George Daish" userId="0bdcf7b5-cff9-4b38-bda9-e3bf90847f0a" providerId="ADAL" clId="{834AC890-3824-4AD7-9EA9-19F98B9B7D57}" dt="2023-11-07T17:55:23.947" v="2856" actId="1440"/>
          <ac:picMkLst>
            <pc:docMk/>
            <pc:sldMk cId="4149907152" sldId="358"/>
            <ac:picMk id="5" creationId="{2EF409E8-CADD-AD27-6C30-A4DC7C73A8A6}"/>
          </ac:picMkLst>
        </pc:picChg>
      </pc:sldChg>
      <pc:sldChg chg="addSp modSp mod">
        <pc:chgData name="George Daish" userId="0bdcf7b5-cff9-4b38-bda9-e3bf90847f0a" providerId="ADAL" clId="{834AC890-3824-4AD7-9EA9-19F98B9B7D57}" dt="2023-11-08T10:27:50.091" v="2934" actId="207"/>
        <pc:sldMkLst>
          <pc:docMk/>
          <pc:sldMk cId="2453761382" sldId="360"/>
        </pc:sldMkLst>
        <pc:spChg chg="add mod">
          <ac:chgData name="George Daish" userId="0bdcf7b5-cff9-4b38-bda9-e3bf90847f0a" providerId="ADAL" clId="{834AC890-3824-4AD7-9EA9-19F98B9B7D57}" dt="2023-11-07T17:40:17.317" v="2512" actId="1076"/>
          <ac:spMkLst>
            <pc:docMk/>
            <pc:sldMk cId="2453761382" sldId="360"/>
            <ac:spMk id="8" creationId="{36FDF3A7-EC5C-1C1B-A806-49EE89F41826}"/>
          </ac:spMkLst>
        </pc:spChg>
        <pc:spChg chg="mod">
          <ac:chgData name="George Daish" userId="0bdcf7b5-cff9-4b38-bda9-e3bf90847f0a" providerId="ADAL" clId="{834AC890-3824-4AD7-9EA9-19F98B9B7D57}" dt="2023-11-07T17:39:38.480" v="2506" actId="113"/>
          <ac:spMkLst>
            <pc:docMk/>
            <pc:sldMk cId="2453761382" sldId="360"/>
            <ac:spMk id="10" creationId="{60BF23AC-82CD-2245-BDB7-63ED03BE65B3}"/>
          </ac:spMkLst>
        </pc:spChg>
        <pc:graphicFrameChg chg="mod modGraphic">
          <ac:chgData name="George Daish" userId="0bdcf7b5-cff9-4b38-bda9-e3bf90847f0a" providerId="ADAL" clId="{834AC890-3824-4AD7-9EA9-19F98B9B7D57}" dt="2023-11-08T10:27:50.091" v="2934" actId="207"/>
          <ac:graphicFrameMkLst>
            <pc:docMk/>
            <pc:sldMk cId="2453761382" sldId="360"/>
            <ac:graphicFrameMk id="2" creationId="{D6690053-D673-767A-74D9-1DC60B021D8D}"/>
          </ac:graphicFrameMkLst>
        </pc:graphicFrameChg>
        <pc:picChg chg="add mod">
          <ac:chgData name="George Daish" userId="0bdcf7b5-cff9-4b38-bda9-e3bf90847f0a" providerId="ADAL" clId="{834AC890-3824-4AD7-9EA9-19F98B9B7D57}" dt="2023-11-07T17:32:00.196" v="2501" actId="1076"/>
          <ac:picMkLst>
            <pc:docMk/>
            <pc:sldMk cId="2453761382" sldId="360"/>
            <ac:picMk id="4" creationId="{95A8CE6E-51D0-D0B0-9A63-64E17969DCD6}"/>
          </ac:picMkLst>
        </pc:picChg>
        <pc:picChg chg="add mod">
          <ac:chgData name="George Daish" userId="0bdcf7b5-cff9-4b38-bda9-e3bf90847f0a" providerId="ADAL" clId="{834AC890-3824-4AD7-9EA9-19F98B9B7D57}" dt="2023-11-07T17:56:02.707" v="2872" actId="1076"/>
          <ac:picMkLst>
            <pc:docMk/>
            <pc:sldMk cId="2453761382" sldId="360"/>
            <ac:picMk id="6" creationId="{4FD0F368-3347-852D-0CC5-62027ED6A127}"/>
          </ac:picMkLst>
        </pc:picChg>
        <pc:picChg chg="mod">
          <ac:chgData name="George Daish" userId="0bdcf7b5-cff9-4b38-bda9-e3bf90847f0a" providerId="ADAL" clId="{834AC890-3824-4AD7-9EA9-19F98B9B7D57}" dt="2023-11-07T17:55:57.265" v="2871" actId="1440"/>
          <ac:picMkLst>
            <pc:docMk/>
            <pc:sldMk cId="2453761382" sldId="360"/>
            <ac:picMk id="9" creationId="{C2CF851A-CBD1-18EE-A146-2F471A00134B}"/>
          </ac:picMkLst>
        </pc:picChg>
        <pc:picChg chg="mod">
          <ac:chgData name="George Daish" userId="0bdcf7b5-cff9-4b38-bda9-e3bf90847f0a" providerId="ADAL" clId="{834AC890-3824-4AD7-9EA9-19F98B9B7D57}" dt="2023-11-07T17:55:56.671" v="2870" actId="1440"/>
          <ac:picMkLst>
            <pc:docMk/>
            <pc:sldMk cId="2453761382" sldId="360"/>
            <ac:picMk id="14" creationId="{EF625736-2F4A-AD54-0E6A-570C47897C01}"/>
          </ac:picMkLst>
        </pc:picChg>
      </pc:sldChg>
      <pc:sldChg chg="delSp modSp new mod">
        <pc:chgData name="George Daish" userId="0bdcf7b5-cff9-4b38-bda9-e3bf90847f0a" providerId="ADAL" clId="{834AC890-3824-4AD7-9EA9-19F98B9B7D57}" dt="2023-11-07T14:05:39.172" v="671" actId="20577"/>
        <pc:sldMkLst>
          <pc:docMk/>
          <pc:sldMk cId="1734601474" sldId="361"/>
        </pc:sldMkLst>
        <pc:spChg chg="del">
          <ac:chgData name="George Daish" userId="0bdcf7b5-cff9-4b38-bda9-e3bf90847f0a" providerId="ADAL" clId="{834AC890-3824-4AD7-9EA9-19F98B9B7D57}" dt="2023-11-07T14:01:37.365" v="453" actId="478"/>
          <ac:spMkLst>
            <pc:docMk/>
            <pc:sldMk cId="1734601474" sldId="361"/>
            <ac:spMk id="2" creationId="{22A8D557-5282-CCC4-DD6C-A4AEDCFA6EC6}"/>
          </ac:spMkLst>
        </pc:spChg>
        <pc:spChg chg="mod">
          <ac:chgData name="George Daish" userId="0bdcf7b5-cff9-4b38-bda9-e3bf90847f0a" providerId="ADAL" clId="{834AC890-3824-4AD7-9EA9-19F98B9B7D57}" dt="2023-11-07T14:05:25.694" v="644" actId="20577"/>
          <ac:spMkLst>
            <pc:docMk/>
            <pc:sldMk cId="1734601474" sldId="361"/>
            <ac:spMk id="7" creationId="{6B1FA77B-5830-27BB-7D31-9DA019A2B66E}"/>
          </ac:spMkLst>
        </pc:spChg>
        <pc:spChg chg="mod">
          <ac:chgData name="George Daish" userId="0bdcf7b5-cff9-4b38-bda9-e3bf90847f0a" providerId="ADAL" clId="{834AC890-3824-4AD7-9EA9-19F98B9B7D57}" dt="2023-11-07T14:01:48.847" v="496" actId="20577"/>
          <ac:spMkLst>
            <pc:docMk/>
            <pc:sldMk cId="1734601474" sldId="361"/>
            <ac:spMk id="8" creationId="{BF40A3BB-873C-9D13-FE74-9EB5DD2DC76B}"/>
          </ac:spMkLst>
        </pc:spChg>
        <pc:spChg chg="mod">
          <ac:chgData name="George Daish" userId="0bdcf7b5-cff9-4b38-bda9-e3bf90847f0a" providerId="ADAL" clId="{834AC890-3824-4AD7-9EA9-19F98B9B7D57}" dt="2023-11-07T14:05:39.172" v="671" actId="20577"/>
          <ac:spMkLst>
            <pc:docMk/>
            <pc:sldMk cId="1734601474" sldId="361"/>
            <ac:spMk id="10" creationId="{285DE5AE-B88E-C8F6-23EE-066641772EDA}"/>
          </ac:spMkLst>
        </pc:spChg>
      </pc:sldChg>
      <pc:sldChg chg="delSp modSp add mod ord">
        <pc:chgData name="George Daish" userId="0bdcf7b5-cff9-4b38-bda9-e3bf90847f0a" providerId="ADAL" clId="{834AC890-3824-4AD7-9EA9-19F98B9B7D57}" dt="2023-11-08T10:39:36.072" v="3020" actId="478"/>
        <pc:sldMkLst>
          <pc:docMk/>
          <pc:sldMk cId="2097779950" sldId="362"/>
        </pc:sldMkLst>
        <pc:spChg chg="mod">
          <ac:chgData name="George Daish" userId="0bdcf7b5-cff9-4b38-bda9-e3bf90847f0a" providerId="ADAL" clId="{834AC890-3824-4AD7-9EA9-19F98B9B7D57}" dt="2023-11-08T10:39:19.996" v="3017" actId="1035"/>
          <ac:spMkLst>
            <pc:docMk/>
            <pc:sldMk cId="2097779950" sldId="362"/>
            <ac:spMk id="3" creationId="{73691022-D419-8B46-2C00-67A0A4AAAFAE}"/>
          </ac:spMkLst>
        </pc:spChg>
        <pc:spChg chg="mod">
          <ac:chgData name="George Daish" userId="0bdcf7b5-cff9-4b38-bda9-e3bf90847f0a" providerId="ADAL" clId="{834AC890-3824-4AD7-9EA9-19F98B9B7D57}" dt="2023-11-08T10:39:19.996" v="3017" actId="1035"/>
          <ac:spMkLst>
            <pc:docMk/>
            <pc:sldMk cId="2097779950" sldId="362"/>
            <ac:spMk id="4" creationId="{B70110E1-4D93-13D2-DD8F-2B5464307052}"/>
          </ac:spMkLst>
        </pc:spChg>
        <pc:spChg chg="del">
          <ac:chgData name="George Daish" userId="0bdcf7b5-cff9-4b38-bda9-e3bf90847f0a" providerId="ADAL" clId="{834AC890-3824-4AD7-9EA9-19F98B9B7D57}" dt="2023-11-08T10:39:28.170" v="3018" actId="478"/>
          <ac:spMkLst>
            <pc:docMk/>
            <pc:sldMk cId="2097779950" sldId="362"/>
            <ac:spMk id="5" creationId="{11805CB2-C52D-A924-F241-27A33C00A5E6}"/>
          </ac:spMkLst>
        </pc:spChg>
        <pc:spChg chg="del">
          <ac:chgData name="George Daish" userId="0bdcf7b5-cff9-4b38-bda9-e3bf90847f0a" providerId="ADAL" clId="{834AC890-3824-4AD7-9EA9-19F98B9B7D57}" dt="2023-11-08T10:39:31.544" v="3019" actId="478"/>
          <ac:spMkLst>
            <pc:docMk/>
            <pc:sldMk cId="2097779950" sldId="362"/>
            <ac:spMk id="6" creationId="{DDE47F3B-F0D1-CD30-BE74-40E9D3C2CB7C}"/>
          </ac:spMkLst>
        </pc:spChg>
        <pc:spChg chg="mod">
          <ac:chgData name="George Daish" userId="0bdcf7b5-cff9-4b38-bda9-e3bf90847f0a" providerId="ADAL" clId="{834AC890-3824-4AD7-9EA9-19F98B9B7D57}" dt="2023-11-08T10:39:19.996" v="3017" actId="1035"/>
          <ac:spMkLst>
            <pc:docMk/>
            <pc:sldMk cId="2097779950" sldId="362"/>
            <ac:spMk id="7" creationId="{6B1FA77B-5830-27BB-7D31-9DA019A2B66E}"/>
          </ac:spMkLst>
        </pc:spChg>
        <pc:spChg chg="mod">
          <ac:chgData name="George Daish" userId="0bdcf7b5-cff9-4b38-bda9-e3bf90847f0a" providerId="ADAL" clId="{834AC890-3824-4AD7-9EA9-19F98B9B7D57}" dt="2023-11-08T10:39:19.996" v="3017" actId="1035"/>
          <ac:spMkLst>
            <pc:docMk/>
            <pc:sldMk cId="2097779950" sldId="362"/>
            <ac:spMk id="8" creationId="{BF40A3BB-873C-9D13-FE74-9EB5DD2DC76B}"/>
          </ac:spMkLst>
        </pc:spChg>
        <pc:spChg chg="del">
          <ac:chgData name="George Daish" userId="0bdcf7b5-cff9-4b38-bda9-e3bf90847f0a" providerId="ADAL" clId="{834AC890-3824-4AD7-9EA9-19F98B9B7D57}" dt="2023-11-08T10:39:36.072" v="3020" actId="478"/>
          <ac:spMkLst>
            <pc:docMk/>
            <pc:sldMk cId="2097779950" sldId="362"/>
            <ac:spMk id="9" creationId="{3102F160-5FFD-6B7C-03F7-D9952B54DBF2}"/>
          </ac:spMkLst>
        </pc:spChg>
        <pc:spChg chg="mod">
          <ac:chgData name="George Daish" userId="0bdcf7b5-cff9-4b38-bda9-e3bf90847f0a" providerId="ADAL" clId="{834AC890-3824-4AD7-9EA9-19F98B9B7D57}" dt="2023-11-07T14:06:50.179" v="721" actId="20577"/>
          <ac:spMkLst>
            <pc:docMk/>
            <pc:sldMk cId="2097779950" sldId="362"/>
            <ac:spMk id="10" creationId="{285DE5AE-B88E-C8F6-23EE-066641772EDA}"/>
          </ac:spMkLst>
        </pc:spChg>
      </pc:sldChg>
      <pc:sldChg chg="addSp modSp add mod ord modNotesTx">
        <pc:chgData name="George Daish" userId="0bdcf7b5-cff9-4b38-bda9-e3bf90847f0a" providerId="ADAL" clId="{834AC890-3824-4AD7-9EA9-19F98B9B7D57}" dt="2023-11-07T14:43:03.475" v="1819" actId="1035"/>
        <pc:sldMkLst>
          <pc:docMk/>
          <pc:sldMk cId="4265139455" sldId="363"/>
        </pc:sldMkLst>
        <pc:spChg chg="mod">
          <ac:chgData name="George Daish" userId="0bdcf7b5-cff9-4b38-bda9-e3bf90847f0a" providerId="ADAL" clId="{834AC890-3824-4AD7-9EA9-19F98B9B7D57}" dt="2023-11-07T14:11:59.700" v="1064"/>
          <ac:spMkLst>
            <pc:docMk/>
            <pc:sldMk cId="4265139455" sldId="363"/>
            <ac:spMk id="2" creationId="{67319747-7DAA-CAD1-6B1B-2A0B8EF75625}"/>
          </ac:spMkLst>
        </pc:spChg>
        <pc:spChg chg="mod">
          <ac:chgData name="George Daish" userId="0bdcf7b5-cff9-4b38-bda9-e3bf90847f0a" providerId="ADAL" clId="{834AC890-3824-4AD7-9EA9-19F98B9B7D57}" dt="2023-11-07T14:34:02.435" v="1379" actId="1037"/>
          <ac:spMkLst>
            <pc:docMk/>
            <pc:sldMk cId="4265139455" sldId="363"/>
            <ac:spMk id="3" creationId="{E0838D19-5551-559A-D4D9-15E3DF046361}"/>
          </ac:spMkLst>
        </pc:spChg>
        <pc:picChg chg="add mod">
          <ac:chgData name="George Daish" userId="0bdcf7b5-cff9-4b38-bda9-e3bf90847f0a" providerId="ADAL" clId="{834AC890-3824-4AD7-9EA9-19F98B9B7D57}" dt="2023-11-07T14:42:47.524" v="1799" actId="1440"/>
          <ac:picMkLst>
            <pc:docMk/>
            <pc:sldMk cId="4265139455" sldId="363"/>
            <ac:picMk id="5" creationId="{0FE1D41A-97E6-C6AD-A61B-261AF1F9B5BA}"/>
          </ac:picMkLst>
        </pc:picChg>
        <pc:picChg chg="add mod">
          <ac:chgData name="George Daish" userId="0bdcf7b5-cff9-4b38-bda9-e3bf90847f0a" providerId="ADAL" clId="{834AC890-3824-4AD7-9EA9-19F98B9B7D57}" dt="2023-11-07T14:43:03.475" v="1819" actId="1035"/>
          <ac:picMkLst>
            <pc:docMk/>
            <pc:sldMk cId="4265139455" sldId="363"/>
            <ac:picMk id="7" creationId="{AB8B6190-802B-F70A-A713-5AFC34E9C0D0}"/>
          </ac:picMkLst>
        </pc:picChg>
        <pc:picChg chg="add mod">
          <ac:chgData name="George Daish" userId="0bdcf7b5-cff9-4b38-bda9-e3bf90847f0a" providerId="ADAL" clId="{834AC890-3824-4AD7-9EA9-19F98B9B7D57}" dt="2023-11-07T14:43:00.706" v="1810" actId="1036"/>
          <ac:picMkLst>
            <pc:docMk/>
            <pc:sldMk cId="4265139455" sldId="363"/>
            <ac:picMk id="9" creationId="{0802F2D5-C846-8A8E-C7B4-559D353119A8}"/>
          </ac:picMkLst>
        </pc:picChg>
      </pc:sldChg>
      <pc:sldChg chg="modSp mod modNotesTx">
        <pc:chgData name="George Daish" userId="0bdcf7b5-cff9-4b38-bda9-e3bf90847f0a" providerId="ADAL" clId="{834AC890-3824-4AD7-9EA9-19F98B9B7D57}" dt="2023-11-08T14:05:26.811" v="5036" actId="20577"/>
        <pc:sldMkLst>
          <pc:docMk/>
          <pc:sldMk cId="2611510499" sldId="364"/>
        </pc:sldMkLst>
        <pc:spChg chg="mod">
          <ac:chgData name="George Daish" userId="0bdcf7b5-cff9-4b38-bda9-e3bf90847f0a" providerId="ADAL" clId="{834AC890-3824-4AD7-9EA9-19F98B9B7D57}" dt="2023-11-08T14:05:26.811" v="5036" actId="20577"/>
          <ac:spMkLst>
            <pc:docMk/>
            <pc:sldMk cId="2611510499" sldId="364"/>
            <ac:spMk id="4" creationId="{FD5AB1BA-C7AB-A53B-FAED-E0207E653DEF}"/>
          </ac:spMkLst>
        </pc:spChg>
        <pc:picChg chg="mod">
          <ac:chgData name="George Daish" userId="0bdcf7b5-cff9-4b38-bda9-e3bf90847f0a" providerId="ADAL" clId="{834AC890-3824-4AD7-9EA9-19F98B9B7D57}" dt="2023-11-08T13:20:58.619" v="3120" actId="1035"/>
          <ac:picMkLst>
            <pc:docMk/>
            <pc:sldMk cId="2611510499" sldId="364"/>
            <ac:picMk id="2" creationId="{CF8F6550-8921-9A61-E528-FE72CCBD46EA}"/>
          </ac:picMkLst>
        </pc:picChg>
        <pc:picChg chg="mod modCrop">
          <ac:chgData name="George Daish" userId="0bdcf7b5-cff9-4b38-bda9-e3bf90847f0a" providerId="ADAL" clId="{834AC890-3824-4AD7-9EA9-19F98B9B7D57}" dt="2023-11-08T13:20:51.425" v="3069" actId="732"/>
          <ac:picMkLst>
            <pc:docMk/>
            <pc:sldMk cId="2611510499" sldId="364"/>
            <ac:picMk id="6" creationId="{26E17650-0C7E-7B02-0185-00B73F4A8B62}"/>
          </ac:picMkLst>
        </pc:picChg>
        <pc:picChg chg="mod">
          <ac:chgData name="George Daish" userId="0bdcf7b5-cff9-4b38-bda9-e3bf90847f0a" providerId="ADAL" clId="{834AC890-3824-4AD7-9EA9-19F98B9B7D57}" dt="2023-11-08T14:00:45.210" v="4259" actId="1037"/>
          <ac:picMkLst>
            <pc:docMk/>
            <pc:sldMk cId="2611510499" sldId="364"/>
            <ac:picMk id="7" creationId="{E8196E80-621A-D661-E5C4-A11F89CCC8DB}"/>
          </ac:picMkLst>
        </pc:picChg>
      </pc:sldChg>
      <pc:sldChg chg="del">
        <pc:chgData name="George Daish" userId="0bdcf7b5-cff9-4b38-bda9-e3bf90847f0a" providerId="ADAL" clId="{834AC890-3824-4AD7-9EA9-19F98B9B7D57}" dt="2023-11-08T10:36:27.731" v="2980" actId="2696"/>
        <pc:sldMkLst>
          <pc:docMk/>
          <pc:sldMk cId="2124821139" sldId="365"/>
        </pc:sldMkLst>
      </pc:sldChg>
      <pc:sldChg chg="del">
        <pc:chgData name="George Daish" userId="0bdcf7b5-cff9-4b38-bda9-e3bf90847f0a" providerId="ADAL" clId="{834AC890-3824-4AD7-9EA9-19F98B9B7D57}" dt="2023-11-08T10:38:52.429" v="2983" actId="2696"/>
        <pc:sldMkLst>
          <pc:docMk/>
          <pc:sldMk cId="344962178" sldId="366"/>
        </pc:sldMkLst>
      </pc:sldChg>
      <pc:sldMasterChg chg="modSldLayout">
        <pc:chgData name="George Daish" userId="0bdcf7b5-cff9-4b38-bda9-e3bf90847f0a" providerId="ADAL" clId="{834AC890-3824-4AD7-9EA9-19F98B9B7D57}" dt="2023-11-07T16:56:03.721" v="2228" actId="20577"/>
        <pc:sldMasterMkLst>
          <pc:docMk/>
          <pc:sldMasterMk cId="2577300477" sldId="2147483682"/>
        </pc:sldMasterMkLst>
        <pc:sldLayoutChg chg="addSp delSp modSp mod">
          <pc:chgData name="George Daish" userId="0bdcf7b5-cff9-4b38-bda9-e3bf90847f0a" providerId="ADAL" clId="{834AC890-3824-4AD7-9EA9-19F98B9B7D57}" dt="2023-11-07T16:56:03.721" v="2228" actId="20577"/>
          <pc:sldLayoutMkLst>
            <pc:docMk/>
            <pc:sldMasterMk cId="2577300477" sldId="2147483682"/>
            <pc:sldLayoutMk cId="2612108031" sldId="2147483726"/>
          </pc:sldLayoutMkLst>
          <pc:spChg chg="mod">
            <ac:chgData name="George Daish" userId="0bdcf7b5-cff9-4b38-bda9-e3bf90847f0a" providerId="ADAL" clId="{834AC890-3824-4AD7-9EA9-19F98B9B7D57}" dt="2023-11-07T16:55:45.534" v="2190" actId="20577"/>
            <ac:spMkLst>
              <pc:docMk/>
              <pc:sldMasterMk cId="2577300477" sldId="2147483682"/>
              <pc:sldLayoutMk cId="2612108031" sldId="2147483726"/>
              <ac:spMk id="21" creationId="{41375E89-CCDD-3544-923E-3FB4D592C35A}"/>
            </ac:spMkLst>
          </pc:spChg>
          <pc:spChg chg="mod">
            <ac:chgData name="George Daish" userId="0bdcf7b5-cff9-4b38-bda9-e3bf90847f0a" providerId="ADAL" clId="{834AC890-3824-4AD7-9EA9-19F98B9B7D57}" dt="2023-11-07T16:55:53.126" v="2204" actId="20577"/>
            <ac:spMkLst>
              <pc:docMk/>
              <pc:sldMasterMk cId="2577300477" sldId="2147483682"/>
              <pc:sldLayoutMk cId="2612108031" sldId="2147483726"/>
              <ac:spMk id="22" creationId="{253D0D72-0034-4D47-988B-CCE385031E08}"/>
            </ac:spMkLst>
          </pc:spChg>
          <pc:spChg chg="mod">
            <ac:chgData name="George Daish" userId="0bdcf7b5-cff9-4b38-bda9-e3bf90847f0a" providerId="ADAL" clId="{834AC890-3824-4AD7-9EA9-19F98B9B7D57}" dt="2023-11-07T16:55:58.421" v="2216" actId="20577"/>
            <ac:spMkLst>
              <pc:docMk/>
              <pc:sldMasterMk cId="2577300477" sldId="2147483682"/>
              <pc:sldLayoutMk cId="2612108031" sldId="2147483726"/>
              <ac:spMk id="23" creationId="{AF064D03-DA3E-3845-BAA8-5410B5370177}"/>
            </ac:spMkLst>
          </pc:spChg>
          <pc:spChg chg="mod">
            <ac:chgData name="George Daish" userId="0bdcf7b5-cff9-4b38-bda9-e3bf90847f0a" providerId="ADAL" clId="{834AC890-3824-4AD7-9EA9-19F98B9B7D57}" dt="2023-11-07T16:56:03.721" v="2228" actId="20577"/>
            <ac:spMkLst>
              <pc:docMk/>
              <pc:sldMasterMk cId="2577300477" sldId="2147483682"/>
              <pc:sldLayoutMk cId="2612108031" sldId="2147483726"/>
              <ac:spMk id="24" creationId="{CB89BAD8-8952-5A44-B08D-9DE6EC3BD2B4}"/>
            </ac:spMkLst>
          </pc:spChg>
          <pc:picChg chg="add del mod">
            <ac:chgData name="George Daish" userId="0bdcf7b5-cff9-4b38-bda9-e3bf90847f0a" providerId="ADAL" clId="{834AC890-3824-4AD7-9EA9-19F98B9B7D57}" dt="2023-11-07T16:55:25.972" v="2173"/>
            <ac:picMkLst>
              <pc:docMk/>
              <pc:sldMasterMk cId="2577300477" sldId="2147483682"/>
              <pc:sldLayoutMk cId="2612108031" sldId="2147483726"/>
              <ac:picMk id="2" creationId="{38E83F18-D282-AFC1-6B7F-7F64C933C06F}"/>
            </ac:picMkLst>
          </pc:picChg>
          <pc:picChg chg="del">
            <ac:chgData name="George Daish" userId="0bdcf7b5-cff9-4b38-bda9-e3bf90847f0a" providerId="ADAL" clId="{834AC890-3824-4AD7-9EA9-19F98B9B7D57}" dt="2023-11-07T16:55:17.277" v="2169" actId="478"/>
            <ac:picMkLst>
              <pc:docMk/>
              <pc:sldMasterMk cId="2577300477" sldId="2147483682"/>
              <pc:sldLayoutMk cId="2612108031" sldId="2147483726"/>
              <ac:picMk id="5" creationId="{22083B33-20E1-6A42-AA8F-9ABC29CE2CA7}"/>
            </ac:picMkLst>
          </pc:picChg>
          <pc:picChg chg="del">
            <ac:chgData name="George Daish" userId="0bdcf7b5-cff9-4b38-bda9-e3bf90847f0a" providerId="ADAL" clId="{834AC890-3824-4AD7-9EA9-19F98B9B7D57}" dt="2023-11-07T16:55:28.663" v="2175" actId="478"/>
            <ac:picMkLst>
              <pc:docMk/>
              <pc:sldMasterMk cId="2577300477" sldId="2147483682"/>
              <pc:sldLayoutMk cId="2612108031" sldId="2147483726"/>
              <ac:picMk id="10" creationId="{61165D4B-CD7B-5246-979A-CB2E64A21158}"/>
            </ac:picMkLst>
          </pc:picChg>
          <pc:picChg chg="del">
            <ac:chgData name="George Daish" userId="0bdcf7b5-cff9-4b38-bda9-e3bf90847f0a" providerId="ADAL" clId="{834AC890-3824-4AD7-9EA9-19F98B9B7D57}" dt="2023-11-07T16:55:27.261" v="2174" actId="478"/>
            <ac:picMkLst>
              <pc:docMk/>
              <pc:sldMasterMk cId="2577300477" sldId="2147483682"/>
              <pc:sldLayoutMk cId="2612108031" sldId="2147483726"/>
              <ac:picMk id="11" creationId="{7DBDE079-93AF-3240-99AC-FD2CD8C8EFBA}"/>
            </ac:picMkLst>
          </pc:picChg>
          <pc:picChg chg="del">
            <ac:chgData name="George Daish" userId="0bdcf7b5-cff9-4b38-bda9-e3bf90847f0a" providerId="ADAL" clId="{834AC890-3824-4AD7-9EA9-19F98B9B7D57}" dt="2023-11-07T16:55:12.508" v="2168" actId="478"/>
            <ac:picMkLst>
              <pc:docMk/>
              <pc:sldMasterMk cId="2577300477" sldId="2147483682"/>
              <pc:sldLayoutMk cId="2612108031" sldId="2147483726"/>
              <ac:picMk id="26" creationId="{D504F6D5-8709-AA15-A3C6-3E3FA75CF2A4}"/>
            </ac:picMkLst>
          </pc:picChg>
          <pc:picChg chg="del">
            <ac:chgData name="George Daish" userId="0bdcf7b5-cff9-4b38-bda9-e3bf90847f0a" providerId="ADAL" clId="{834AC890-3824-4AD7-9EA9-19F98B9B7D57}" dt="2023-11-07T16:55:30.194" v="2176" actId="478"/>
            <ac:picMkLst>
              <pc:docMk/>
              <pc:sldMasterMk cId="2577300477" sldId="2147483682"/>
              <pc:sldLayoutMk cId="2612108031" sldId="2147483726"/>
              <ac:picMk id="27" creationId="{BD1BFD37-E8D1-0AE6-7F13-8104236AFD55}"/>
            </ac:picMkLst>
          </pc:picChg>
        </pc:sldLayoutChg>
      </pc:sldMasterChg>
    </pc:docChg>
  </pc:docChgLst>
  <pc:docChgLst>
    <pc:chgData name="Ian Ma" userId="S::ian.ma@ba.com::040dbc55-79cb-41a3-ad64-16484e61cc10" providerId="AD" clId="Web-{C0B6EE06-DD10-DF85-4CA7-CF77F0C4FD2B}"/>
    <pc:docChg chg="modSld">
      <pc:chgData name="Ian Ma" userId="S::ian.ma@ba.com::040dbc55-79cb-41a3-ad64-16484e61cc10" providerId="AD" clId="Web-{C0B6EE06-DD10-DF85-4CA7-CF77F0C4FD2B}" dt="2023-11-07T17:55:34.646" v="481" actId="20577"/>
      <pc:docMkLst>
        <pc:docMk/>
      </pc:docMkLst>
      <pc:sldChg chg="addSp delSp modSp">
        <pc:chgData name="Ian Ma" userId="S::ian.ma@ba.com::040dbc55-79cb-41a3-ad64-16484e61cc10" providerId="AD" clId="Web-{C0B6EE06-DD10-DF85-4CA7-CF77F0C4FD2B}" dt="2023-11-07T17:40:21.846" v="423" actId="20577"/>
        <pc:sldMkLst>
          <pc:docMk/>
          <pc:sldMk cId="2453761382" sldId="360"/>
        </pc:sldMkLst>
        <pc:spChg chg="mod">
          <ac:chgData name="Ian Ma" userId="S::ian.ma@ba.com::040dbc55-79cb-41a3-ad64-16484e61cc10" providerId="AD" clId="Web-{C0B6EE06-DD10-DF85-4CA7-CF77F0C4FD2B}" dt="2023-11-07T17:40:21.846" v="423" actId="20577"/>
          <ac:spMkLst>
            <pc:docMk/>
            <pc:sldMk cId="2453761382" sldId="360"/>
            <ac:spMk id="10" creationId="{60BF23AC-82CD-2245-BDB7-63ED03BE65B3}"/>
          </ac:spMkLst>
        </pc:spChg>
        <pc:picChg chg="del mod">
          <ac:chgData name="Ian Ma" userId="S::ian.ma@ba.com::040dbc55-79cb-41a3-ad64-16484e61cc10" providerId="AD" clId="Web-{C0B6EE06-DD10-DF85-4CA7-CF77F0C4FD2B}" dt="2023-11-07T17:35:31.991" v="304"/>
          <ac:picMkLst>
            <pc:docMk/>
            <pc:sldMk cId="2453761382" sldId="360"/>
            <ac:picMk id="4" creationId="{95A8CE6E-51D0-D0B0-9A63-64E17969DCD6}"/>
          </ac:picMkLst>
        </pc:picChg>
        <pc:picChg chg="mod">
          <ac:chgData name="Ian Ma" userId="S::ian.ma@ba.com::040dbc55-79cb-41a3-ad64-16484e61cc10" providerId="AD" clId="Web-{C0B6EE06-DD10-DF85-4CA7-CF77F0C4FD2B}" dt="2023-11-07T17:35:30.647" v="303" actId="1076"/>
          <ac:picMkLst>
            <pc:docMk/>
            <pc:sldMk cId="2453761382" sldId="360"/>
            <ac:picMk id="6" creationId="{4FD0F368-3347-852D-0CC5-62027ED6A127}"/>
          </ac:picMkLst>
        </pc:picChg>
        <pc:picChg chg="mod">
          <ac:chgData name="Ian Ma" userId="S::ian.ma@ba.com::040dbc55-79cb-41a3-ad64-16484e61cc10" providerId="AD" clId="Web-{C0B6EE06-DD10-DF85-4CA7-CF77F0C4FD2B}" dt="2023-11-07T17:20:30.144" v="11" actId="1076"/>
          <ac:picMkLst>
            <pc:docMk/>
            <pc:sldMk cId="2453761382" sldId="360"/>
            <ac:picMk id="9" creationId="{C2CF851A-CBD1-18EE-A146-2F471A00134B}"/>
          </ac:picMkLst>
        </pc:picChg>
        <pc:picChg chg="add del mod">
          <ac:chgData name="Ian Ma" userId="S::ian.ma@ba.com::040dbc55-79cb-41a3-ad64-16484e61cc10" providerId="AD" clId="Web-{C0B6EE06-DD10-DF85-4CA7-CF77F0C4FD2B}" dt="2023-11-07T17:20:30.176" v="12" actId="1076"/>
          <ac:picMkLst>
            <pc:docMk/>
            <pc:sldMk cId="2453761382" sldId="360"/>
            <ac:picMk id="14" creationId="{EF625736-2F4A-AD54-0E6A-570C47897C01}"/>
          </ac:picMkLst>
        </pc:picChg>
      </pc:sldChg>
      <pc:sldChg chg="modSp">
        <pc:chgData name="Ian Ma" userId="S::ian.ma@ba.com::040dbc55-79cb-41a3-ad64-16484e61cc10" providerId="AD" clId="Web-{C0B6EE06-DD10-DF85-4CA7-CF77F0C4FD2B}" dt="2023-11-07T17:55:34.646" v="481" actId="20577"/>
        <pc:sldMkLst>
          <pc:docMk/>
          <pc:sldMk cId="1734601474" sldId="361"/>
        </pc:sldMkLst>
        <pc:spChg chg="mod">
          <ac:chgData name="Ian Ma" userId="S::ian.ma@ba.com::040dbc55-79cb-41a3-ad64-16484e61cc10" providerId="AD" clId="Web-{C0B6EE06-DD10-DF85-4CA7-CF77F0C4FD2B}" dt="2023-11-07T17:55:34.646" v="481" actId="20577"/>
          <ac:spMkLst>
            <pc:docMk/>
            <pc:sldMk cId="1734601474" sldId="361"/>
            <ac:spMk id="3" creationId="{73691022-D419-8B46-2C00-67A0A4AAAFAE}"/>
          </ac:spMkLst>
        </pc:spChg>
      </pc:sldChg>
      <pc:sldChg chg="modSp">
        <pc:chgData name="Ian Ma" userId="S::ian.ma@ba.com::040dbc55-79cb-41a3-ad64-16484e61cc10" providerId="AD" clId="Web-{C0B6EE06-DD10-DF85-4CA7-CF77F0C4FD2B}" dt="2023-11-07T17:41:17.582" v="451" actId="20577"/>
        <pc:sldMkLst>
          <pc:docMk/>
          <pc:sldMk cId="2097779950" sldId="362"/>
        </pc:sldMkLst>
        <pc:spChg chg="mod">
          <ac:chgData name="Ian Ma" userId="S::ian.ma@ba.com::040dbc55-79cb-41a3-ad64-16484e61cc10" providerId="AD" clId="Web-{C0B6EE06-DD10-DF85-4CA7-CF77F0C4FD2B}" dt="2023-11-07T17:41:17.582" v="451" actId="20577"/>
          <ac:spMkLst>
            <pc:docMk/>
            <pc:sldMk cId="2097779950" sldId="362"/>
            <ac:spMk id="3" creationId="{73691022-D419-8B46-2C00-67A0A4AAAFAE}"/>
          </ac:spMkLst>
        </pc:spChg>
      </pc:sldChg>
    </pc:docChg>
  </pc:docChgLst>
  <pc:docChgLst>
    <pc:chgData name="George Daish" userId="S::george.daish@ba.com::0bdcf7b5-cff9-4b38-bda9-e3bf90847f0a" providerId="AD" clId="Web-{5503D7BD-7FED-D93F-77B7-E79E0557D853}"/>
    <pc:docChg chg="addSld delSld modSld sldOrd">
      <pc:chgData name="George Daish" userId="S::george.daish@ba.com::0bdcf7b5-cff9-4b38-bda9-e3bf90847f0a" providerId="AD" clId="Web-{5503D7BD-7FED-D93F-77B7-E79E0557D853}" dt="2023-11-06T16:24:35.193" v="1505"/>
      <pc:docMkLst>
        <pc:docMk/>
      </pc:docMkLst>
      <pc:sldChg chg="del">
        <pc:chgData name="George Daish" userId="S::george.daish@ba.com::0bdcf7b5-cff9-4b38-bda9-e3bf90847f0a" providerId="AD" clId="Web-{5503D7BD-7FED-D93F-77B7-E79E0557D853}" dt="2023-11-06T14:35:32.512" v="305"/>
        <pc:sldMkLst>
          <pc:docMk/>
          <pc:sldMk cId="3323444316" sldId="293"/>
        </pc:sldMkLst>
      </pc:sldChg>
      <pc:sldChg chg="del">
        <pc:chgData name="George Daish" userId="S::george.daish@ba.com::0bdcf7b5-cff9-4b38-bda9-e3bf90847f0a" providerId="AD" clId="Web-{5503D7BD-7FED-D93F-77B7-E79E0557D853}" dt="2023-11-06T14:35:07.651" v="294"/>
        <pc:sldMkLst>
          <pc:docMk/>
          <pc:sldMk cId="1798754999" sldId="294"/>
        </pc:sldMkLst>
      </pc:sldChg>
      <pc:sldChg chg="del">
        <pc:chgData name="George Daish" userId="S::george.daish@ba.com::0bdcf7b5-cff9-4b38-bda9-e3bf90847f0a" providerId="AD" clId="Web-{5503D7BD-7FED-D93F-77B7-E79E0557D853}" dt="2023-11-06T14:35:04.979" v="293"/>
        <pc:sldMkLst>
          <pc:docMk/>
          <pc:sldMk cId="258000860" sldId="295"/>
        </pc:sldMkLst>
      </pc:sldChg>
      <pc:sldChg chg="del">
        <pc:chgData name="George Daish" userId="S::george.daish@ba.com::0bdcf7b5-cff9-4b38-bda9-e3bf90847f0a" providerId="AD" clId="Web-{5503D7BD-7FED-D93F-77B7-E79E0557D853}" dt="2023-11-06T14:35:01.636" v="291"/>
        <pc:sldMkLst>
          <pc:docMk/>
          <pc:sldMk cId="3499876301" sldId="296"/>
        </pc:sldMkLst>
      </pc:sldChg>
      <pc:sldChg chg="del">
        <pc:chgData name="George Daish" userId="S::george.daish@ba.com::0bdcf7b5-cff9-4b38-bda9-e3bf90847f0a" providerId="AD" clId="Web-{5503D7BD-7FED-D93F-77B7-E79E0557D853}" dt="2023-11-06T14:35:00.839" v="290"/>
        <pc:sldMkLst>
          <pc:docMk/>
          <pc:sldMk cId="3920347094" sldId="299"/>
        </pc:sldMkLst>
      </pc:sldChg>
      <pc:sldChg chg="del">
        <pc:chgData name="George Daish" userId="S::george.daish@ba.com::0bdcf7b5-cff9-4b38-bda9-e3bf90847f0a" providerId="AD" clId="Web-{5503D7BD-7FED-D93F-77B7-E79E0557D853}" dt="2023-11-06T14:34:59.010" v="288"/>
        <pc:sldMkLst>
          <pc:docMk/>
          <pc:sldMk cId="664252524" sldId="300"/>
        </pc:sldMkLst>
      </pc:sldChg>
      <pc:sldChg chg="del">
        <pc:chgData name="George Daish" userId="S::george.daish@ba.com::0bdcf7b5-cff9-4b38-bda9-e3bf90847f0a" providerId="AD" clId="Web-{5503D7BD-7FED-D93F-77B7-E79E0557D853}" dt="2023-11-06T14:34:54.995" v="286"/>
        <pc:sldMkLst>
          <pc:docMk/>
          <pc:sldMk cId="1249334388" sldId="301"/>
        </pc:sldMkLst>
      </pc:sldChg>
      <pc:sldChg chg="del">
        <pc:chgData name="George Daish" userId="S::george.daish@ba.com::0bdcf7b5-cff9-4b38-bda9-e3bf90847f0a" providerId="AD" clId="Web-{5503D7BD-7FED-D93F-77B7-E79E0557D853}" dt="2023-11-06T16:24:08.442" v="1503"/>
        <pc:sldMkLst>
          <pc:docMk/>
          <pc:sldMk cId="1164707696" sldId="302"/>
        </pc:sldMkLst>
      </pc:sldChg>
      <pc:sldChg chg="del">
        <pc:chgData name="George Daish" userId="S::george.daish@ba.com::0bdcf7b5-cff9-4b38-bda9-e3bf90847f0a" providerId="AD" clId="Web-{5503D7BD-7FED-D93F-77B7-E79E0557D853}" dt="2023-11-06T14:35:34.824" v="306"/>
        <pc:sldMkLst>
          <pc:docMk/>
          <pc:sldMk cId="432904752" sldId="303"/>
        </pc:sldMkLst>
      </pc:sldChg>
      <pc:sldChg chg="del">
        <pc:chgData name="George Daish" userId="S::george.daish@ba.com::0bdcf7b5-cff9-4b38-bda9-e3bf90847f0a" providerId="AD" clId="Web-{5503D7BD-7FED-D93F-77B7-E79E0557D853}" dt="2023-11-06T14:35:11.839" v="298"/>
        <pc:sldMkLst>
          <pc:docMk/>
          <pc:sldMk cId="1305630147" sldId="304"/>
        </pc:sldMkLst>
      </pc:sldChg>
      <pc:sldChg chg="del">
        <pc:chgData name="George Daish" userId="S::george.daish@ba.com::0bdcf7b5-cff9-4b38-bda9-e3bf90847f0a" providerId="AD" clId="Web-{5503D7BD-7FED-D93F-77B7-E79E0557D853}" dt="2023-11-06T14:35:11.120" v="297"/>
        <pc:sldMkLst>
          <pc:docMk/>
          <pc:sldMk cId="998421305" sldId="305"/>
        </pc:sldMkLst>
      </pc:sldChg>
      <pc:sldChg chg="del">
        <pc:chgData name="George Daish" userId="S::george.daish@ba.com::0bdcf7b5-cff9-4b38-bda9-e3bf90847f0a" providerId="AD" clId="Web-{5503D7BD-7FED-D93F-77B7-E79E0557D853}" dt="2023-11-06T14:35:11.105" v="296"/>
        <pc:sldMkLst>
          <pc:docMk/>
          <pc:sldMk cId="2632453237" sldId="306"/>
        </pc:sldMkLst>
      </pc:sldChg>
      <pc:sldChg chg="del">
        <pc:chgData name="George Daish" userId="S::george.daish@ba.com::0bdcf7b5-cff9-4b38-bda9-e3bf90847f0a" providerId="AD" clId="Web-{5503D7BD-7FED-D93F-77B7-E79E0557D853}" dt="2023-11-06T14:35:11.042" v="295"/>
        <pc:sldMkLst>
          <pc:docMk/>
          <pc:sldMk cId="867123020" sldId="307"/>
        </pc:sldMkLst>
      </pc:sldChg>
      <pc:sldChg chg="del">
        <pc:chgData name="George Daish" userId="S::george.daish@ba.com::0bdcf7b5-cff9-4b38-bda9-e3bf90847f0a" providerId="AD" clId="Web-{5503D7BD-7FED-D93F-77B7-E79E0557D853}" dt="2023-11-06T14:35:02.557" v="292"/>
        <pc:sldMkLst>
          <pc:docMk/>
          <pc:sldMk cId="4096356896" sldId="310"/>
        </pc:sldMkLst>
      </pc:sldChg>
      <pc:sldChg chg="del">
        <pc:chgData name="George Daish" userId="S::george.daish@ba.com::0bdcf7b5-cff9-4b38-bda9-e3bf90847f0a" providerId="AD" clId="Web-{5503D7BD-7FED-D93F-77B7-E79E0557D853}" dt="2023-11-06T14:35:00.057" v="289"/>
        <pc:sldMkLst>
          <pc:docMk/>
          <pc:sldMk cId="4276355304" sldId="311"/>
        </pc:sldMkLst>
      </pc:sldChg>
      <pc:sldChg chg="del">
        <pc:chgData name="George Daish" userId="S::george.daish@ba.com::0bdcf7b5-cff9-4b38-bda9-e3bf90847f0a" providerId="AD" clId="Web-{5503D7BD-7FED-D93F-77B7-E79E0557D853}" dt="2023-11-06T14:35:26.996" v="302"/>
        <pc:sldMkLst>
          <pc:docMk/>
          <pc:sldMk cId="3748554296" sldId="331"/>
        </pc:sldMkLst>
      </pc:sldChg>
      <pc:sldChg chg="del">
        <pc:chgData name="George Daish" userId="S::george.daish@ba.com::0bdcf7b5-cff9-4b38-bda9-e3bf90847f0a" providerId="AD" clId="Web-{5503D7BD-7FED-D93F-77B7-E79E0557D853}" dt="2023-11-06T14:35:28.855" v="303"/>
        <pc:sldMkLst>
          <pc:docMk/>
          <pc:sldMk cId="138219079" sldId="332"/>
        </pc:sldMkLst>
      </pc:sldChg>
      <pc:sldChg chg="del">
        <pc:chgData name="George Daish" userId="S::george.daish@ba.com::0bdcf7b5-cff9-4b38-bda9-e3bf90847f0a" providerId="AD" clId="Web-{5503D7BD-7FED-D93F-77B7-E79E0557D853}" dt="2023-11-06T14:34:56.729" v="287"/>
        <pc:sldMkLst>
          <pc:docMk/>
          <pc:sldMk cId="2253630960" sldId="333"/>
        </pc:sldMkLst>
      </pc:sldChg>
      <pc:sldChg chg="del">
        <pc:chgData name="George Daish" userId="S::george.daish@ba.com::0bdcf7b5-cff9-4b38-bda9-e3bf90847f0a" providerId="AD" clId="Web-{5503D7BD-7FED-D93F-77B7-E79E0557D853}" dt="2023-11-06T14:35:31.512" v="304"/>
        <pc:sldMkLst>
          <pc:docMk/>
          <pc:sldMk cId="4026322324" sldId="334"/>
        </pc:sldMkLst>
      </pc:sldChg>
      <pc:sldChg chg="addSp delSp modSp">
        <pc:chgData name="George Daish" userId="S::george.daish@ba.com::0bdcf7b5-cff9-4b38-bda9-e3bf90847f0a" providerId="AD" clId="Web-{5503D7BD-7FED-D93F-77B7-E79E0557D853}" dt="2023-11-06T12:52:23.336" v="211"/>
        <pc:sldMkLst>
          <pc:docMk/>
          <pc:sldMk cId="79678829" sldId="335"/>
        </pc:sldMkLst>
        <pc:spChg chg="del">
          <ac:chgData name="George Daish" userId="S::george.daish@ba.com::0bdcf7b5-cff9-4b38-bda9-e3bf90847f0a" providerId="AD" clId="Web-{5503D7BD-7FED-D93F-77B7-E79E0557D853}" dt="2023-11-06T12:51:39.724" v="191"/>
          <ac:spMkLst>
            <pc:docMk/>
            <pc:sldMk cId="79678829" sldId="335"/>
            <ac:spMk id="2" creationId="{F01AC99F-9641-4318-B482-196B39968C2A}"/>
          </ac:spMkLst>
        </pc:spChg>
        <pc:spChg chg="del">
          <ac:chgData name="George Daish" userId="S::george.daish@ba.com::0bdcf7b5-cff9-4b38-bda9-e3bf90847f0a" providerId="AD" clId="Web-{5503D7BD-7FED-D93F-77B7-E79E0557D853}" dt="2023-11-06T12:51:39.646" v="190"/>
          <ac:spMkLst>
            <pc:docMk/>
            <pc:sldMk cId="79678829" sldId="335"/>
            <ac:spMk id="3" creationId="{24C9B974-E1A2-4412-A1FC-53B260CC5576}"/>
          </ac:spMkLst>
        </pc:spChg>
        <pc:spChg chg="del">
          <ac:chgData name="George Daish" userId="S::george.daish@ba.com::0bdcf7b5-cff9-4b38-bda9-e3bf90847f0a" providerId="AD" clId="Web-{5503D7BD-7FED-D93F-77B7-E79E0557D853}" dt="2023-11-06T12:51:39.568" v="189"/>
          <ac:spMkLst>
            <pc:docMk/>
            <pc:sldMk cId="79678829" sldId="335"/>
            <ac:spMk id="4" creationId="{20AB4C85-0901-4A4D-8DB4-499D5382D792}"/>
          </ac:spMkLst>
        </pc:spChg>
        <pc:spChg chg="del">
          <ac:chgData name="George Daish" userId="S::george.daish@ba.com::0bdcf7b5-cff9-4b38-bda9-e3bf90847f0a" providerId="AD" clId="Web-{5503D7BD-7FED-D93F-77B7-E79E0557D853}" dt="2023-11-06T12:51:39.474" v="188"/>
          <ac:spMkLst>
            <pc:docMk/>
            <pc:sldMk cId="79678829" sldId="335"/>
            <ac:spMk id="5" creationId="{D73C39F9-3B68-488C-9D73-EF70209BB315}"/>
          </ac:spMkLst>
        </pc:spChg>
        <pc:spChg chg="del">
          <ac:chgData name="George Daish" userId="S::george.daish@ba.com::0bdcf7b5-cff9-4b38-bda9-e3bf90847f0a" providerId="AD" clId="Web-{5503D7BD-7FED-D93F-77B7-E79E0557D853}" dt="2023-11-06T12:51:39.396" v="187"/>
          <ac:spMkLst>
            <pc:docMk/>
            <pc:sldMk cId="79678829" sldId="335"/>
            <ac:spMk id="6" creationId="{3CF5D83D-4DC4-4D0F-B9D0-6C8ABD926289}"/>
          </ac:spMkLst>
        </pc:spChg>
        <pc:spChg chg="del">
          <ac:chgData name="George Daish" userId="S::george.daish@ba.com::0bdcf7b5-cff9-4b38-bda9-e3bf90847f0a" providerId="AD" clId="Web-{5503D7BD-7FED-D93F-77B7-E79E0557D853}" dt="2023-11-06T12:51:39.318" v="186"/>
          <ac:spMkLst>
            <pc:docMk/>
            <pc:sldMk cId="79678829" sldId="335"/>
            <ac:spMk id="7" creationId="{29E63D65-5422-421B-890B-67E04301AC64}"/>
          </ac:spMkLst>
        </pc:spChg>
        <pc:spChg chg="del">
          <ac:chgData name="George Daish" userId="S::george.daish@ba.com::0bdcf7b5-cff9-4b38-bda9-e3bf90847f0a" providerId="AD" clId="Web-{5503D7BD-7FED-D93F-77B7-E79E0557D853}" dt="2023-11-06T12:51:39.240" v="185"/>
          <ac:spMkLst>
            <pc:docMk/>
            <pc:sldMk cId="79678829" sldId="335"/>
            <ac:spMk id="8" creationId="{0C949878-8425-4D13-B06E-6ED161BFA149}"/>
          </ac:spMkLst>
        </pc:spChg>
        <pc:spChg chg="del">
          <ac:chgData name="George Daish" userId="S::george.daish@ba.com::0bdcf7b5-cff9-4b38-bda9-e3bf90847f0a" providerId="AD" clId="Web-{5503D7BD-7FED-D93F-77B7-E79E0557D853}" dt="2023-11-06T12:51:39.177" v="184"/>
          <ac:spMkLst>
            <pc:docMk/>
            <pc:sldMk cId="79678829" sldId="335"/>
            <ac:spMk id="9" creationId="{38D64909-BAC6-4325-BF24-42F65BD077E7}"/>
          </ac:spMkLst>
        </pc:spChg>
        <pc:spChg chg="del">
          <ac:chgData name="George Daish" userId="S::george.daish@ba.com::0bdcf7b5-cff9-4b38-bda9-e3bf90847f0a" providerId="AD" clId="Web-{5503D7BD-7FED-D93F-77B7-E79E0557D853}" dt="2023-11-06T12:51:39.099" v="183"/>
          <ac:spMkLst>
            <pc:docMk/>
            <pc:sldMk cId="79678829" sldId="335"/>
            <ac:spMk id="10" creationId="{C8763FDE-4734-4AAD-BC4A-8CE178C1BC1B}"/>
          </ac:spMkLst>
        </pc:spChg>
        <pc:spChg chg="del">
          <ac:chgData name="George Daish" userId="S::george.daish@ba.com::0bdcf7b5-cff9-4b38-bda9-e3bf90847f0a" providerId="AD" clId="Web-{5503D7BD-7FED-D93F-77B7-E79E0557D853}" dt="2023-11-06T12:51:39.021" v="182"/>
          <ac:spMkLst>
            <pc:docMk/>
            <pc:sldMk cId="79678829" sldId="335"/>
            <ac:spMk id="11" creationId="{005E9680-1738-429A-80A8-9443831A55B1}"/>
          </ac:spMkLst>
        </pc:spChg>
        <pc:spChg chg="del">
          <ac:chgData name="George Daish" userId="S::george.daish@ba.com::0bdcf7b5-cff9-4b38-bda9-e3bf90847f0a" providerId="AD" clId="Web-{5503D7BD-7FED-D93F-77B7-E79E0557D853}" dt="2023-11-06T12:51:38.943" v="181"/>
          <ac:spMkLst>
            <pc:docMk/>
            <pc:sldMk cId="79678829" sldId="335"/>
            <ac:spMk id="12" creationId="{28E5AA00-3449-4A18-8CEE-3C755B635A21}"/>
          </ac:spMkLst>
        </pc:spChg>
        <pc:spChg chg="del">
          <ac:chgData name="George Daish" userId="S::george.daish@ba.com::0bdcf7b5-cff9-4b38-bda9-e3bf90847f0a" providerId="AD" clId="Web-{5503D7BD-7FED-D93F-77B7-E79E0557D853}" dt="2023-11-06T12:51:38.865" v="180"/>
          <ac:spMkLst>
            <pc:docMk/>
            <pc:sldMk cId="79678829" sldId="335"/>
            <ac:spMk id="13" creationId="{3B4F03FE-7607-4AB9-BCB9-A87EB481255E}"/>
          </ac:spMkLst>
        </pc:spChg>
        <pc:spChg chg="mod">
          <ac:chgData name="George Daish" userId="S::george.daish@ba.com::0bdcf7b5-cff9-4b38-bda9-e3bf90847f0a" providerId="AD" clId="Web-{5503D7BD-7FED-D93F-77B7-E79E0557D853}" dt="2023-11-06T12:51:32.755" v="176" actId="20577"/>
          <ac:spMkLst>
            <pc:docMk/>
            <pc:sldMk cId="79678829" sldId="335"/>
            <ac:spMk id="14" creationId="{E6C5419A-5FE2-4B72-A316-3BF407B139CA}"/>
          </ac:spMkLst>
        </pc:spChg>
        <pc:spChg chg="del mod">
          <ac:chgData name="George Daish" userId="S::george.daish@ba.com::0bdcf7b5-cff9-4b38-bda9-e3bf90847f0a" providerId="AD" clId="Web-{5503D7BD-7FED-D93F-77B7-E79E0557D853}" dt="2023-11-06T12:51:36.239" v="179"/>
          <ac:spMkLst>
            <pc:docMk/>
            <pc:sldMk cId="79678829" sldId="335"/>
            <ac:spMk id="15" creationId="{052541D0-1E82-47BB-A583-11E7BDEC7531}"/>
          </ac:spMkLst>
        </pc:spChg>
        <pc:spChg chg="add del mod">
          <ac:chgData name="George Daish" userId="S::george.daish@ba.com::0bdcf7b5-cff9-4b38-bda9-e3bf90847f0a" providerId="AD" clId="Web-{5503D7BD-7FED-D93F-77B7-E79E0557D853}" dt="2023-11-06T12:51:57.897" v="192"/>
          <ac:spMkLst>
            <pc:docMk/>
            <pc:sldMk cId="79678829" sldId="335"/>
            <ac:spMk id="17" creationId="{D53D0170-DA45-93BB-65F9-327152DCA3C3}"/>
          </ac:spMkLst>
        </pc:spChg>
        <pc:spChg chg="add del mod">
          <ac:chgData name="George Daish" userId="S::george.daish@ba.com::0bdcf7b5-cff9-4b38-bda9-e3bf90847f0a" providerId="AD" clId="Web-{5503D7BD-7FED-D93F-77B7-E79E0557D853}" dt="2023-11-06T12:52:11.898" v="201"/>
          <ac:spMkLst>
            <pc:docMk/>
            <pc:sldMk cId="79678829" sldId="335"/>
            <ac:spMk id="19" creationId="{4F4801C6-61C1-3DAD-52A1-996E27A032CE}"/>
          </ac:spMkLst>
        </pc:spChg>
        <pc:spChg chg="add del mod">
          <ac:chgData name="George Daish" userId="S::george.daish@ba.com::0bdcf7b5-cff9-4b38-bda9-e3bf90847f0a" providerId="AD" clId="Web-{5503D7BD-7FED-D93F-77B7-E79E0557D853}" dt="2023-11-06T12:52:16.914" v="205"/>
          <ac:spMkLst>
            <pc:docMk/>
            <pc:sldMk cId="79678829" sldId="335"/>
            <ac:spMk id="21" creationId="{38218F02-FBF8-9BEA-9FF0-A106AB84F3E3}"/>
          </ac:spMkLst>
        </pc:spChg>
        <pc:spChg chg="add del mod">
          <ac:chgData name="George Daish" userId="S::george.daish@ba.com::0bdcf7b5-cff9-4b38-bda9-e3bf90847f0a" providerId="AD" clId="Web-{5503D7BD-7FED-D93F-77B7-E79E0557D853}" dt="2023-11-06T12:52:23.336" v="211"/>
          <ac:spMkLst>
            <pc:docMk/>
            <pc:sldMk cId="79678829" sldId="335"/>
            <ac:spMk id="23" creationId="{E0951374-2899-E31C-87E4-86C445B41D38}"/>
          </ac:spMkLst>
        </pc:spChg>
        <pc:spChg chg="add del mod">
          <ac:chgData name="George Daish" userId="S::george.daish@ba.com::0bdcf7b5-cff9-4b38-bda9-e3bf90847f0a" providerId="AD" clId="Web-{5503D7BD-7FED-D93F-77B7-E79E0557D853}" dt="2023-11-06T12:52:10.366" v="199"/>
          <ac:spMkLst>
            <pc:docMk/>
            <pc:sldMk cId="79678829" sldId="335"/>
            <ac:spMk id="25" creationId="{5EA3D48A-CE2A-88FB-BE55-E672159B8BBC}"/>
          </ac:spMkLst>
        </pc:spChg>
        <pc:spChg chg="add del mod">
          <ac:chgData name="George Daish" userId="S::george.daish@ba.com::0bdcf7b5-cff9-4b38-bda9-e3bf90847f0a" providerId="AD" clId="Web-{5503D7BD-7FED-D93F-77B7-E79E0557D853}" dt="2023-11-06T12:52:18.195" v="206"/>
          <ac:spMkLst>
            <pc:docMk/>
            <pc:sldMk cId="79678829" sldId="335"/>
            <ac:spMk id="27" creationId="{6C68D450-185C-CE26-8D80-9DADEAF81484}"/>
          </ac:spMkLst>
        </pc:spChg>
        <pc:spChg chg="add del mod">
          <ac:chgData name="George Daish" userId="S::george.daish@ba.com::0bdcf7b5-cff9-4b38-bda9-e3bf90847f0a" providerId="AD" clId="Web-{5503D7BD-7FED-D93F-77B7-E79E0557D853}" dt="2023-11-06T12:52:21.461" v="209"/>
          <ac:spMkLst>
            <pc:docMk/>
            <pc:sldMk cId="79678829" sldId="335"/>
            <ac:spMk id="29" creationId="{C49243CB-C4C8-C98E-98B0-BA629A78FEDD}"/>
          </ac:spMkLst>
        </pc:spChg>
        <pc:spChg chg="add del mod">
          <ac:chgData name="George Daish" userId="S::george.daish@ba.com::0bdcf7b5-cff9-4b38-bda9-e3bf90847f0a" providerId="AD" clId="Web-{5503D7BD-7FED-D93F-77B7-E79E0557D853}" dt="2023-11-06T12:52:11.132" v="200"/>
          <ac:spMkLst>
            <pc:docMk/>
            <pc:sldMk cId="79678829" sldId="335"/>
            <ac:spMk id="31" creationId="{759FAB40-B880-B27B-7EDB-A33A9FC400A9}"/>
          </ac:spMkLst>
        </pc:spChg>
        <pc:spChg chg="add del mod">
          <ac:chgData name="George Daish" userId="S::george.daish@ba.com::0bdcf7b5-cff9-4b38-bda9-e3bf90847f0a" providerId="AD" clId="Web-{5503D7BD-7FED-D93F-77B7-E79E0557D853}" dt="2023-11-06T12:52:12.601" v="202"/>
          <ac:spMkLst>
            <pc:docMk/>
            <pc:sldMk cId="79678829" sldId="335"/>
            <ac:spMk id="33" creationId="{8FF38D06-D3EB-4536-3311-A6B1E628C1B0}"/>
          </ac:spMkLst>
        </pc:spChg>
        <pc:spChg chg="add del mod">
          <ac:chgData name="George Daish" userId="S::george.daish@ba.com::0bdcf7b5-cff9-4b38-bda9-e3bf90847f0a" providerId="AD" clId="Web-{5503D7BD-7FED-D93F-77B7-E79E0557D853}" dt="2023-11-06T12:52:22.711" v="210"/>
          <ac:spMkLst>
            <pc:docMk/>
            <pc:sldMk cId="79678829" sldId="335"/>
            <ac:spMk id="35" creationId="{03FF0C8D-1241-99FB-F967-42E47E09CA33}"/>
          </ac:spMkLst>
        </pc:spChg>
        <pc:spChg chg="add del mod">
          <ac:chgData name="George Daish" userId="S::george.daish@ba.com::0bdcf7b5-cff9-4b38-bda9-e3bf90847f0a" providerId="AD" clId="Web-{5503D7BD-7FED-D93F-77B7-E79E0557D853}" dt="2023-11-06T12:52:08.351" v="198"/>
          <ac:spMkLst>
            <pc:docMk/>
            <pc:sldMk cId="79678829" sldId="335"/>
            <ac:spMk id="37" creationId="{5DC39C22-9199-804C-4BB3-5C364E72A760}"/>
          </ac:spMkLst>
        </pc:spChg>
        <pc:spChg chg="add del mod">
          <ac:chgData name="George Daish" userId="S::george.daish@ba.com::0bdcf7b5-cff9-4b38-bda9-e3bf90847f0a" providerId="AD" clId="Web-{5503D7BD-7FED-D93F-77B7-E79E0557D853}" dt="2023-11-06T12:52:19.242" v="207"/>
          <ac:spMkLst>
            <pc:docMk/>
            <pc:sldMk cId="79678829" sldId="335"/>
            <ac:spMk id="39" creationId="{B1F009FB-E17C-E2E5-8A0B-F433C3C79E19}"/>
          </ac:spMkLst>
        </pc:spChg>
        <pc:spChg chg="add del mod">
          <ac:chgData name="George Daish" userId="S::george.daish@ba.com::0bdcf7b5-cff9-4b38-bda9-e3bf90847f0a" providerId="AD" clId="Web-{5503D7BD-7FED-D93F-77B7-E79E0557D853}" dt="2023-11-06T12:52:20.179" v="208"/>
          <ac:spMkLst>
            <pc:docMk/>
            <pc:sldMk cId="79678829" sldId="335"/>
            <ac:spMk id="41" creationId="{BBE1A0DD-284D-9DC9-5F36-4A465DC87B69}"/>
          </ac:spMkLst>
        </pc:spChg>
        <pc:spChg chg="add del mod">
          <ac:chgData name="George Daish" userId="S::george.daish@ba.com::0bdcf7b5-cff9-4b38-bda9-e3bf90847f0a" providerId="AD" clId="Web-{5503D7BD-7FED-D93F-77B7-E79E0557D853}" dt="2023-11-06T12:52:14.742" v="204"/>
          <ac:spMkLst>
            <pc:docMk/>
            <pc:sldMk cId="79678829" sldId="335"/>
            <ac:spMk id="44" creationId="{995E474D-8EC1-5CDF-A0E1-2E41CD9EA44F}"/>
          </ac:spMkLst>
        </pc:spChg>
        <pc:picChg chg="add del mod ord">
          <ac:chgData name="George Daish" userId="S::george.daish@ba.com::0bdcf7b5-cff9-4b38-bda9-e3bf90847f0a" providerId="AD" clId="Web-{5503D7BD-7FED-D93F-77B7-E79E0557D853}" dt="2023-11-06T12:52:14.742" v="204"/>
          <ac:picMkLst>
            <pc:docMk/>
            <pc:sldMk cId="79678829" sldId="335"/>
            <ac:picMk id="42" creationId="{C4BD7135-A5C4-16BE-0079-E9EE4E7589C5}"/>
          </ac:picMkLst>
        </pc:picChg>
      </pc:sldChg>
      <pc:sldChg chg="ord">
        <pc:chgData name="George Daish" userId="S::george.daish@ba.com::0bdcf7b5-cff9-4b38-bda9-e3bf90847f0a" providerId="AD" clId="Web-{5503D7BD-7FED-D93F-77B7-E79E0557D853}" dt="2023-11-06T15:05:43.298" v="606"/>
        <pc:sldMkLst>
          <pc:docMk/>
          <pc:sldMk cId="380097703" sldId="336"/>
        </pc:sldMkLst>
      </pc:sldChg>
      <pc:sldChg chg="del">
        <pc:chgData name="George Daish" userId="S::george.daish@ba.com::0bdcf7b5-cff9-4b38-bda9-e3bf90847f0a" providerId="AD" clId="Web-{5503D7BD-7FED-D93F-77B7-E79E0557D853}" dt="2023-11-06T14:35:24.121" v="301"/>
        <pc:sldMkLst>
          <pc:docMk/>
          <pc:sldMk cId="1075245968" sldId="338"/>
        </pc:sldMkLst>
      </pc:sldChg>
      <pc:sldChg chg="ord">
        <pc:chgData name="George Daish" userId="S::george.daish@ba.com::0bdcf7b5-cff9-4b38-bda9-e3bf90847f0a" providerId="AD" clId="Web-{5503D7BD-7FED-D93F-77B7-E79E0557D853}" dt="2023-11-06T11:05:30.003" v="54"/>
        <pc:sldMkLst>
          <pc:docMk/>
          <pc:sldMk cId="1324413061" sldId="339"/>
        </pc:sldMkLst>
      </pc:sldChg>
      <pc:sldChg chg="addSp delSp modSp ord">
        <pc:chgData name="George Daish" userId="S::george.daish@ba.com::0bdcf7b5-cff9-4b38-bda9-e3bf90847f0a" providerId="AD" clId="Web-{5503D7BD-7FED-D93F-77B7-E79E0557D853}" dt="2023-11-06T13:13:48.818" v="258" actId="1076"/>
        <pc:sldMkLst>
          <pc:docMk/>
          <pc:sldMk cId="3985118271" sldId="340"/>
        </pc:sldMkLst>
        <pc:spChg chg="add del">
          <ac:chgData name="George Daish" userId="S::george.daish@ba.com::0bdcf7b5-cff9-4b38-bda9-e3bf90847f0a" providerId="AD" clId="Web-{5503D7BD-7FED-D93F-77B7-E79E0557D853}" dt="2023-11-06T11:48:51.866" v="108"/>
          <ac:spMkLst>
            <pc:docMk/>
            <pc:sldMk cId="3985118271" sldId="340"/>
            <ac:spMk id="2" creationId="{DFB17BF2-3888-4569-AFD4-7AF99EF3BE37}"/>
          </ac:spMkLst>
        </pc:spChg>
        <pc:spChg chg="del">
          <ac:chgData name="George Daish" userId="S::george.daish@ba.com::0bdcf7b5-cff9-4b38-bda9-e3bf90847f0a" providerId="AD" clId="Web-{5503D7BD-7FED-D93F-77B7-E79E0557D853}" dt="2023-11-06T11:49:03.647" v="112"/>
          <ac:spMkLst>
            <pc:docMk/>
            <pc:sldMk cId="3985118271" sldId="340"/>
            <ac:spMk id="3" creationId="{3718EBB8-7BF6-D908-A688-476C64218972}"/>
          </ac:spMkLst>
        </pc:spChg>
        <pc:spChg chg="mod">
          <ac:chgData name="George Daish" userId="S::george.daish@ba.com::0bdcf7b5-cff9-4b38-bda9-e3bf90847f0a" providerId="AD" clId="Web-{5503D7BD-7FED-D93F-77B7-E79E0557D853}" dt="2023-11-06T13:05:41.164" v="230" actId="20577"/>
          <ac:spMkLst>
            <pc:docMk/>
            <pc:sldMk cId="3985118271" sldId="340"/>
            <ac:spMk id="4" creationId="{2EDF6717-D97B-5A4D-EFCE-EE71EF81F7D0}"/>
          </ac:spMkLst>
        </pc:spChg>
        <pc:spChg chg="add del mod">
          <ac:chgData name="George Daish" userId="S::george.daish@ba.com::0bdcf7b5-cff9-4b38-bda9-e3bf90847f0a" providerId="AD" clId="Web-{5503D7BD-7FED-D93F-77B7-E79E0557D853}" dt="2023-11-06T13:02:35.310" v="224"/>
          <ac:spMkLst>
            <pc:docMk/>
            <pc:sldMk cId="3985118271" sldId="340"/>
            <ac:spMk id="7" creationId="{8E415162-CAB4-673A-A53F-5F3759E20175}"/>
          </ac:spMkLst>
        </pc:spChg>
        <pc:spChg chg="add del mod">
          <ac:chgData name="George Daish" userId="S::george.daish@ba.com::0bdcf7b5-cff9-4b38-bda9-e3bf90847f0a" providerId="AD" clId="Web-{5503D7BD-7FED-D93F-77B7-E79E0557D853}" dt="2023-11-06T11:51:22.698" v="116"/>
          <ac:spMkLst>
            <pc:docMk/>
            <pc:sldMk cId="3985118271" sldId="340"/>
            <ac:spMk id="8" creationId="{F3098B42-8876-A279-5AEE-86F8F4A5B55F}"/>
          </ac:spMkLst>
        </pc:spChg>
        <pc:spChg chg="add del mod">
          <ac:chgData name="George Daish" userId="S::george.daish@ba.com::0bdcf7b5-cff9-4b38-bda9-e3bf90847f0a" providerId="AD" clId="Web-{5503D7BD-7FED-D93F-77B7-E79E0557D853}" dt="2023-11-06T11:52:52.403" v="120"/>
          <ac:spMkLst>
            <pc:docMk/>
            <pc:sldMk cId="3985118271" sldId="340"/>
            <ac:spMk id="11" creationId="{FFA7273A-216C-00E5-748F-D0F363B3F8D0}"/>
          </ac:spMkLst>
        </pc:spChg>
        <pc:picChg chg="add del mod">
          <ac:chgData name="George Daish" userId="S::george.daish@ba.com::0bdcf7b5-cff9-4b38-bda9-e3bf90847f0a" providerId="AD" clId="Web-{5503D7BD-7FED-D93F-77B7-E79E0557D853}" dt="2023-11-06T12:29:02.753" v="134"/>
          <ac:picMkLst>
            <pc:docMk/>
            <pc:sldMk cId="3985118271" sldId="340"/>
            <ac:picMk id="2" creationId="{71BC786A-5C6D-916F-ED46-444E953E9E5A}"/>
          </ac:picMkLst>
        </pc:picChg>
        <pc:picChg chg="add del mod">
          <ac:chgData name="George Daish" userId="S::george.daish@ba.com::0bdcf7b5-cff9-4b38-bda9-e3bf90847f0a" providerId="AD" clId="Web-{5503D7BD-7FED-D93F-77B7-E79E0557D853}" dt="2023-11-06T13:11:35.123" v="241"/>
          <ac:picMkLst>
            <pc:docMk/>
            <pc:sldMk cId="3985118271" sldId="340"/>
            <ac:picMk id="3" creationId="{DD727BA7-FFFD-88E3-00D8-BEE843D1F379}"/>
          </ac:picMkLst>
        </pc:picChg>
        <pc:picChg chg="add del mod ord">
          <ac:chgData name="George Daish" userId="S::george.daish@ba.com::0bdcf7b5-cff9-4b38-bda9-e3bf90847f0a" providerId="AD" clId="Web-{5503D7BD-7FED-D93F-77B7-E79E0557D853}" dt="2023-11-06T11:48:48.694" v="107"/>
          <ac:picMkLst>
            <pc:docMk/>
            <pc:sldMk cId="3985118271" sldId="340"/>
            <ac:picMk id="5" creationId="{58FE639B-4DA3-5F24-84C9-4431D0139368}"/>
          </ac:picMkLst>
        </pc:picChg>
        <pc:picChg chg="add del mod">
          <ac:chgData name="George Daish" userId="S::george.daish@ba.com::0bdcf7b5-cff9-4b38-bda9-e3bf90847f0a" providerId="AD" clId="Web-{5503D7BD-7FED-D93F-77B7-E79E0557D853}" dt="2023-11-06T13:11:33.170" v="239"/>
          <ac:picMkLst>
            <pc:docMk/>
            <pc:sldMk cId="3985118271" sldId="340"/>
            <ac:picMk id="5" creationId="{86DF1BBB-E62D-FB96-4E91-733A942F52E1}"/>
          </ac:picMkLst>
        </pc:picChg>
        <pc:picChg chg="add del mod ord">
          <ac:chgData name="George Daish" userId="S::george.daish@ba.com::0bdcf7b5-cff9-4b38-bda9-e3bf90847f0a" providerId="AD" clId="Web-{5503D7BD-7FED-D93F-77B7-E79E0557D853}" dt="2023-11-06T11:51:08.213" v="115"/>
          <ac:picMkLst>
            <pc:docMk/>
            <pc:sldMk cId="3985118271" sldId="340"/>
            <ac:picMk id="6" creationId="{E490074B-6BE3-1EB6-30D1-5A0083B8DB50}"/>
          </ac:picMkLst>
        </pc:picChg>
        <pc:picChg chg="add del mod">
          <ac:chgData name="George Daish" userId="S::george.daish@ba.com::0bdcf7b5-cff9-4b38-bda9-e3bf90847f0a" providerId="AD" clId="Web-{5503D7BD-7FED-D93F-77B7-E79E0557D853}" dt="2023-11-06T13:05:55.337" v="234"/>
          <ac:picMkLst>
            <pc:docMk/>
            <pc:sldMk cId="3985118271" sldId="340"/>
            <ac:picMk id="8" creationId="{1FB9D2BC-24C6-B677-F6A6-16640CEC2F78}"/>
          </ac:picMkLst>
        </pc:picChg>
        <pc:picChg chg="add del mod ord">
          <ac:chgData name="George Daish" userId="S::george.daish@ba.com::0bdcf7b5-cff9-4b38-bda9-e3bf90847f0a" providerId="AD" clId="Web-{5503D7BD-7FED-D93F-77B7-E79E0557D853}" dt="2023-11-06T11:51:30.385" v="119"/>
          <ac:picMkLst>
            <pc:docMk/>
            <pc:sldMk cId="3985118271" sldId="340"/>
            <ac:picMk id="9" creationId="{048510F8-3744-6A59-DD84-F1450091194B}"/>
          </ac:picMkLst>
        </pc:picChg>
        <pc:picChg chg="add mod">
          <ac:chgData name="George Daish" userId="S::george.daish@ba.com::0bdcf7b5-cff9-4b38-bda9-e3bf90847f0a" providerId="AD" clId="Web-{5503D7BD-7FED-D93F-77B7-E79E0557D853}" dt="2023-11-06T13:13:48.818" v="258" actId="1076"/>
          <ac:picMkLst>
            <pc:docMk/>
            <pc:sldMk cId="3985118271" sldId="340"/>
            <ac:picMk id="9" creationId="{3742A145-51A3-DCD2-96C6-2C8BB6998BA5}"/>
          </ac:picMkLst>
        </pc:picChg>
        <pc:picChg chg="add mod">
          <ac:chgData name="George Daish" userId="S::george.daish@ba.com::0bdcf7b5-cff9-4b38-bda9-e3bf90847f0a" providerId="AD" clId="Web-{5503D7BD-7FED-D93F-77B7-E79E0557D853}" dt="2023-11-06T13:12:14.094" v="255" actId="1076"/>
          <ac:picMkLst>
            <pc:docMk/>
            <pc:sldMk cId="3985118271" sldId="340"/>
            <ac:picMk id="10" creationId="{657B2507-8FFD-26DC-C03D-C502B8AD3CD4}"/>
          </ac:picMkLst>
        </pc:picChg>
        <pc:picChg chg="add mod">
          <ac:chgData name="George Daish" userId="S::george.daish@ba.com::0bdcf7b5-cff9-4b38-bda9-e3bf90847f0a" providerId="AD" clId="Web-{5503D7BD-7FED-D93F-77B7-E79E0557D853}" dt="2023-11-06T13:12:10.547" v="253" actId="1076"/>
          <ac:picMkLst>
            <pc:docMk/>
            <pc:sldMk cId="3985118271" sldId="340"/>
            <ac:picMk id="11" creationId="{8A77CC85-F0AD-7155-29C4-894F52090AF8}"/>
          </ac:picMkLst>
        </pc:picChg>
        <pc:picChg chg="add del mod ord">
          <ac:chgData name="George Daish" userId="S::george.daish@ba.com::0bdcf7b5-cff9-4b38-bda9-e3bf90847f0a" providerId="AD" clId="Web-{5503D7BD-7FED-D93F-77B7-E79E0557D853}" dt="2023-11-06T13:00:01.519" v="212"/>
          <ac:picMkLst>
            <pc:docMk/>
            <pc:sldMk cId="3985118271" sldId="340"/>
            <ac:picMk id="12" creationId="{625D0ACE-B830-9E9E-88CC-8CE7876C31CD}"/>
          </ac:picMkLst>
        </pc:picChg>
      </pc:sldChg>
      <pc:sldChg chg="modSp new del">
        <pc:chgData name="George Daish" userId="S::george.daish@ba.com::0bdcf7b5-cff9-4b38-bda9-e3bf90847f0a" providerId="AD" clId="Web-{5503D7BD-7FED-D93F-77B7-E79E0557D853}" dt="2023-11-06T14:35:21.105" v="300"/>
        <pc:sldMkLst>
          <pc:docMk/>
          <pc:sldMk cId="1364618773" sldId="341"/>
        </pc:sldMkLst>
        <pc:spChg chg="mod">
          <ac:chgData name="George Daish" userId="S::george.daish@ba.com::0bdcf7b5-cff9-4b38-bda9-e3bf90847f0a" providerId="AD" clId="Web-{5503D7BD-7FED-D93F-77B7-E79E0557D853}" dt="2023-11-06T11:11:55.794" v="67" actId="20577"/>
          <ac:spMkLst>
            <pc:docMk/>
            <pc:sldMk cId="1364618773" sldId="341"/>
            <ac:spMk id="2" creationId="{0F79546C-E3D9-ED44-1416-217DC7DCB0E3}"/>
          </ac:spMkLst>
        </pc:spChg>
        <pc:spChg chg="mod">
          <ac:chgData name="George Daish" userId="S::george.daish@ba.com::0bdcf7b5-cff9-4b38-bda9-e3bf90847f0a" providerId="AD" clId="Web-{5503D7BD-7FED-D93F-77B7-E79E0557D853}" dt="2023-11-06T11:11:50.841" v="60" actId="20577"/>
          <ac:spMkLst>
            <pc:docMk/>
            <pc:sldMk cId="1364618773" sldId="341"/>
            <ac:spMk id="8" creationId="{DE81C34E-CE45-D956-02DD-6CA70D8313FD}"/>
          </ac:spMkLst>
        </pc:spChg>
      </pc:sldChg>
      <pc:sldChg chg="modSp new ord">
        <pc:chgData name="George Daish" userId="S::george.daish@ba.com::0bdcf7b5-cff9-4b38-bda9-e3bf90847f0a" providerId="AD" clId="Web-{5503D7BD-7FED-D93F-77B7-E79E0557D853}" dt="2023-11-06T15:01:30.820" v="592" actId="20577"/>
        <pc:sldMkLst>
          <pc:docMk/>
          <pc:sldMk cId="643536664" sldId="342"/>
        </pc:sldMkLst>
        <pc:spChg chg="mod">
          <ac:chgData name="George Daish" userId="S::george.daish@ba.com::0bdcf7b5-cff9-4b38-bda9-e3bf90847f0a" providerId="AD" clId="Web-{5503D7BD-7FED-D93F-77B7-E79E0557D853}" dt="2023-11-06T14:53:59.178" v="461" actId="14100"/>
          <ac:spMkLst>
            <pc:docMk/>
            <pc:sldMk cId="643536664" sldId="342"/>
            <ac:spMk id="2" creationId="{1F2FC7D5-0FB7-60EC-8191-631D1454D3D6}"/>
          </ac:spMkLst>
        </pc:spChg>
        <pc:spChg chg="mod">
          <ac:chgData name="George Daish" userId="S::george.daish@ba.com::0bdcf7b5-cff9-4b38-bda9-e3bf90847f0a" providerId="AD" clId="Web-{5503D7BD-7FED-D93F-77B7-E79E0557D853}" dt="2023-11-06T14:54:14.757" v="465" actId="14100"/>
          <ac:spMkLst>
            <pc:docMk/>
            <pc:sldMk cId="643536664" sldId="342"/>
            <ac:spMk id="3" creationId="{A236BAFD-D543-3317-0CE4-9309F42BBA28}"/>
          </ac:spMkLst>
        </pc:spChg>
        <pc:spChg chg="mod">
          <ac:chgData name="George Daish" userId="S::george.daish@ba.com::0bdcf7b5-cff9-4b38-bda9-e3bf90847f0a" providerId="AD" clId="Web-{5503D7BD-7FED-D93F-77B7-E79E0557D853}" dt="2023-11-06T15:01:28.179" v="588" actId="20577"/>
          <ac:spMkLst>
            <pc:docMk/>
            <pc:sldMk cId="643536664" sldId="342"/>
            <ac:spMk id="4" creationId="{532F815F-0D1F-2B88-13E1-165CB045F3AC}"/>
          </ac:spMkLst>
        </pc:spChg>
        <pc:spChg chg="mod">
          <ac:chgData name="George Daish" userId="S::george.daish@ba.com::0bdcf7b5-cff9-4b38-bda9-e3bf90847f0a" providerId="AD" clId="Web-{5503D7BD-7FED-D93F-77B7-E79E0557D853}" dt="2023-11-06T15:01:30.820" v="592" actId="20577"/>
          <ac:spMkLst>
            <pc:docMk/>
            <pc:sldMk cId="643536664" sldId="342"/>
            <ac:spMk id="5" creationId="{AD70B319-9E45-4D59-08BD-0BEFCF1D85A0}"/>
          </ac:spMkLst>
        </pc:spChg>
      </pc:sldChg>
      <pc:sldChg chg="modSp new ord">
        <pc:chgData name="George Daish" userId="S::george.daish@ba.com::0bdcf7b5-cff9-4b38-bda9-e3bf90847f0a" providerId="AD" clId="Web-{5503D7BD-7FED-D93F-77B7-E79E0557D853}" dt="2023-11-06T11:17:40.787" v="104" actId="20577"/>
        <pc:sldMkLst>
          <pc:docMk/>
          <pc:sldMk cId="2201796890" sldId="343"/>
        </pc:sldMkLst>
        <pc:spChg chg="mod">
          <ac:chgData name="George Daish" userId="S::george.daish@ba.com::0bdcf7b5-cff9-4b38-bda9-e3bf90847f0a" providerId="AD" clId="Web-{5503D7BD-7FED-D93F-77B7-E79E0557D853}" dt="2023-11-06T11:00:15.995" v="13" actId="20577"/>
          <ac:spMkLst>
            <pc:docMk/>
            <pc:sldMk cId="2201796890" sldId="343"/>
            <ac:spMk id="3" creationId="{53AE0CBA-D41E-FB6A-D94C-CD4B08FE898C}"/>
          </ac:spMkLst>
        </pc:spChg>
        <pc:spChg chg="mod">
          <ac:chgData name="George Daish" userId="S::george.daish@ba.com::0bdcf7b5-cff9-4b38-bda9-e3bf90847f0a" providerId="AD" clId="Web-{5503D7BD-7FED-D93F-77B7-E79E0557D853}" dt="2023-11-06T11:00:39.636" v="23" actId="20577"/>
          <ac:spMkLst>
            <pc:docMk/>
            <pc:sldMk cId="2201796890" sldId="343"/>
            <ac:spMk id="4" creationId="{8D0F6A3C-4A54-745E-2734-80E02020F7A7}"/>
          </ac:spMkLst>
        </pc:spChg>
        <pc:spChg chg="mod">
          <ac:chgData name="George Daish" userId="S::george.daish@ba.com::0bdcf7b5-cff9-4b38-bda9-e3bf90847f0a" providerId="AD" clId="Web-{5503D7BD-7FED-D93F-77B7-E79E0557D853}" dt="2023-11-06T11:01:37.169" v="27" actId="20577"/>
          <ac:spMkLst>
            <pc:docMk/>
            <pc:sldMk cId="2201796890" sldId="343"/>
            <ac:spMk id="5" creationId="{D60A586C-8B09-107F-2C47-78760EC27317}"/>
          </ac:spMkLst>
        </pc:spChg>
        <pc:spChg chg="mod">
          <ac:chgData name="George Daish" userId="S::george.daish@ba.com::0bdcf7b5-cff9-4b38-bda9-e3bf90847f0a" providerId="AD" clId="Web-{5503D7BD-7FED-D93F-77B7-E79E0557D853}" dt="2023-11-06T11:01:40.825" v="35" actId="20577"/>
          <ac:spMkLst>
            <pc:docMk/>
            <pc:sldMk cId="2201796890" sldId="343"/>
            <ac:spMk id="6" creationId="{EC47E597-A400-4AC9-F600-49E7A4C487D7}"/>
          </ac:spMkLst>
        </pc:spChg>
        <pc:spChg chg="mod">
          <ac:chgData name="George Daish" userId="S::george.daish@ba.com::0bdcf7b5-cff9-4b38-bda9-e3bf90847f0a" providerId="AD" clId="Web-{5503D7BD-7FED-D93F-77B7-E79E0557D853}" dt="2023-11-06T11:17:40.787" v="104" actId="20577"/>
          <ac:spMkLst>
            <pc:docMk/>
            <pc:sldMk cId="2201796890" sldId="343"/>
            <ac:spMk id="7" creationId="{4AF3F9CF-8D9C-8D75-4384-E619A2895A7D}"/>
          </ac:spMkLst>
        </pc:spChg>
      </pc:sldChg>
      <pc:sldChg chg="modSp add ord replId">
        <pc:chgData name="George Daish" userId="S::george.daish@ba.com::0bdcf7b5-cff9-4b38-bda9-e3bf90847f0a" providerId="AD" clId="Web-{5503D7BD-7FED-D93F-77B7-E79E0557D853}" dt="2023-11-06T14:35:42.809" v="307"/>
        <pc:sldMkLst>
          <pc:docMk/>
          <pc:sldMk cId="2022798947" sldId="344"/>
        </pc:sldMkLst>
        <pc:spChg chg="mod">
          <ac:chgData name="George Daish" userId="S::george.daish@ba.com::0bdcf7b5-cff9-4b38-bda9-e3bf90847f0a" providerId="AD" clId="Web-{5503D7BD-7FED-D93F-77B7-E79E0557D853}" dt="2023-11-06T11:04:56.283" v="47" actId="20577"/>
          <ac:spMkLst>
            <pc:docMk/>
            <pc:sldMk cId="2022798947" sldId="344"/>
            <ac:spMk id="2" creationId="{796505FB-8EB9-E8AE-CB9E-6A1C1D1E99ED}"/>
          </ac:spMkLst>
        </pc:spChg>
      </pc:sldChg>
      <pc:sldChg chg="modSp add replId">
        <pc:chgData name="George Daish" userId="S::george.daish@ba.com::0bdcf7b5-cff9-4b38-bda9-e3bf90847f0a" providerId="AD" clId="Web-{5503D7BD-7FED-D93F-77B7-E79E0557D853}" dt="2023-11-06T11:05:29.347" v="53" actId="20577"/>
        <pc:sldMkLst>
          <pc:docMk/>
          <pc:sldMk cId="1086536072" sldId="345"/>
        </pc:sldMkLst>
        <pc:spChg chg="mod">
          <ac:chgData name="George Daish" userId="S::george.daish@ba.com::0bdcf7b5-cff9-4b38-bda9-e3bf90847f0a" providerId="AD" clId="Web-{5503D7BD-7FED-D93F-77B7-E79E0557D853}" dt="2023-11-06T11:05:29.347" v="53" actId="20577"/>
          <ac:spMkLst>
            <pc:docMk/>
            <pc:sldMk cId="1086536072" sldId="345"/>
            <ac:spMk id="2" creationId="{796505FB-8EB9-E8AE-CB9E-6A1C1D1E99ED}"/>
          </ac:spMkLst>
        </pc:spChg>
      </pc:sldChg>
      <pc:sldChg chg="modSp new del">
        <pc:chgData name="George Daish" userId="S::george.daish@ba.com::0bdcf7b5-cff9-4b38-bda9-e3bf90847f0a" providerId="AD" clId="Web-{5503D7BD-7FED-D93F-77B7-E79E0557D853}" dt="2023-11-06T14:35:18.621" v="299"/>
        <pc:sldMkLst>
          <pc:docMk/>
          <pc:sldMk cId="293936934" sldId="346"/>
        </pc:sldMkLst>
        <pc:spChg chg="mod">
          <ac:chgData name="George Daish" userId="S::george.daish@ba.com::0bdcf7b5-cff9-4b38-bda9-e3bf90847f0a" providerId="AD" clId="Web-{5503D7BD-7FED-D93F-77B7-E79E0557D853}" dt="2023-11-06T11:12:33.139" v="72" actId="20577"/>
          <ac:spMkLst>
            <pc:docMk/>
            <pc:sldMk cId="293936934" sldId="346"/>
            <ac:spMk id="2" creationId="{B17DE3B9-EF58-235E-4363-3F9901134F03}"/>
          </ac:spMkLst>
        </pc:spChg>
        <pc:spChg chg="mod">
          <ac:chgData name="George Daish" userId="S::george.daish@ba.com::0bdcf7b5-cff9-4b38-bda9-e3bf90847f0a" providerId="AD" clId="Web-{5503D7BD-7FED-D93F-77B7-E79E0557D853}" dt="2023-11-06T11:12:34.123" v="74" actId="20577"/>
          <ac:spMkLst>
            <pc:docMk/>
            <pc:sldMk cId="293936934" sldId="346"/>
            <ac:spMk id="3" creationId="{0FF344DA-4AF5-789A-165F-DDBA5D3D2C46}"/>
          </ac:spMkLst>
        </pc:spChg>
        <pc:spChg chg="mod">
          <ac:chgData name="George Daish" userId="S::george.daish@ba.com::0bdcf7b5-cff9-4b38-bda9-e3bf90847f0a" providerId="AD" clId="Web-{5503D7BD-7FED-D93F-77B7-E79E0557D853}" dt="2023-11-06T11:12:35.295" v="78" actId="20577"/>
          <ac:spMkLst>
            <pc:docMk/>
            <pc:sldMk cId="293936934" sldId="346"/>
            <ac:spMk id="4" creationId="{31309CCA-42BE-2C55-A882-B9F6573BC9AD}"/>
          </ac:spMkLst>
        </pc:spChg>
        <pc:spChg chg="mod">
          <ac:chgData name="George Daish" userId="S::george.daish@ba.com::0bdcf7b5-cff9-4b38-bda9-e3bf90847f0a" providerId="AD" clId="Web-{5503D7BD-7FED-D93F-77B7-E79E0557D853}" dt="2023-11-06T11:12:36.092" v="80" actId="20577"/>
          <ac:spMkLst>
            <pc:docMk/>
            <pc:sldMk cId="293936934" sldId="346"/>
            <ac:spMk id="5" creationId="{888E1061-BA12-D5CE-2805-D0FCF996F1EF}"/>
          </ac:spMkLst>
        </pc:spChg>
        <pc:spChg chg="mod">
          <ac:chgData name="George Daish" userId="S::george.daish@ba.com::0bdcf7b5-cff9-4b38-bda9-e3bf90847f0a" providerId="AD" clId="Web-{5503D7BD-7FED-D93F-77B7-E79E0557D853}" dt="2023-11-06T11:12:39.420" v="90" actId="20577"/>
          <ac:spMkLst>
            <pc:docMk/>
            <pc:sldMk cId="293936934" sldId="346"/>
            <ac:spMk id="6" creationId="{0A698922-B5B5-50D7-0F52-0384715ABBC9}"/>
          </ac:spMkLst>
        </pc:spChg>
      </pc:sldChg>
      <pc:sldChg chg="modSp new ord">
        <pc:chgData name="George Daish" userId="S::george.daish@ba.com::0bdcf7b5-cff9-4b38-bda9-e3bf90847f0a" providerId="AD" clId="Web-{5503D7BD-7FED-D93F-77B7-E79E0557D853}" dt="2023-11-06T14:40:58.852" v="423" actId="20577"/>
        <pc:sldMkLst>
          <pc:docMk/>
          <pc:sldMk cId="3531106874" sldId="347"/>
        </pc:sldMkLst>
        <pc:spChg chg="mod">
          <ac:chgData name="George Daish" userId="S::george.daish@ba.com::0bdcf7b5-cff9-4b38-bda9-e3bf90847f0a" providerId="AD" clId="Web-{5503D7BD-7FED-D93F-77B7-E79E0557D853}" dt="2023-11-06T14:40:58.852" v="423" actId="20577"/>
          <ac:spMkLst>
            <pc:docMk/>
            <pc:sldMk cId="3531106874" sldId="347"/>
            <ac:spMk id="2" creationId="{EEE134EA-4C18-876A-27CE-065160D36A3F}"/>
          </ac:spMkLst>
        </pc:spChg>
        <pc:spChg chg="mod">
          <ac:chgData name="George Daish" userId="S::george.daish@ba.com::0bdcf7b5-cff9-4b38-bda9-e3bf90847f0a" providerId="AD" clId="Web-{5503D7BD-7FED-D93F-77B7-E79E0557D853}" dt="2023-11-06T14:38:42.003" v="318" actId="20577"/>
          <ac:spMkLst>
            <pc:docMk/>
            <pc:sldMk cId="3531106874" sldId="347"/>
            <ac:spMk id="4" creationId="{193EB464-45BF-3337-CFFE-0B86EA0FA211}"/>
          </ac:spMkLst>
        </pc:spChg>
      </pc:sldChg>
      <pc:sldChg chg="addSp delSp modSp add replId">
        <pc:chgData name="George Daish" userId="S::george.daish@ba.com::0bdcf7b5-cff9-4b38-bda9-e3bf90847f0a" providerId="AD" clId="Web-{5503D7BD-7FED-D93F-77B7-E79E0557D853}" dt="2023-11-06T14:25:36.802" v="268" actId="14100"/>
        <pc:sldMkLst>
          <pc:docMk/>
          <pc:sldMk cId="1470884166" sldId="348"/>
        </pc:sldMkLst>
        <pc:spChg chg="mod">
          <ac:chgData name="George Daish" userId="S::george.daish@ba.com::0bdcf7b5-cff9-4b38-bda9-e3bf90847f0a" providerId="AD" clId="Web-{5503D7BD-7FED-D93F-77B7-E79E0557D853}" dt="2023-11-06T12:46:37.112" v="168" actId="20577"/>
          <ac:spMkLst>
            <pc:docMk/>
            <pc:sldMk cId="1470884166" sldId="348"/>
            <ac:spMk id="4" creationId="{2EDF6717-D97B-5A4D-EFCE-EE71EF81F7D0}"/>
          </ac:spMkLst>
        </pc:spChg>
        <pc:spChg chg="add del mod">
          <ac:chgData name="George Daish" userId="S::george.daish@ba.com::0bdcf7b5-cff9-4b38-bda9-e3bf90847f0a" providerId="AD" clId="Web-{5503D7BD-7FED-D93F-77B7-E79E0557D853}" dt="2023-11-06T12:42:39.020" v="165"/>
          <ac:spMkLst>
            <pc:docMk/>
            <pc:sldMk cId="1470884166" sldId="348"/>
            <ac:spMk id="6" creationId="{1616DEB2-C70E-4AAF-4790-0CEA32C5CC0F}"/>
          </ac:spMkLst>
        </pc:spChg>
        <pc:picChg chg="add mod">
          <ac:chgData name="George Daish" userId="S::george.daish@ba.com::0bdcf7b5-cff9-4b38-bda9-e3bf90847f0a" providerId="AD" clId="Web-{5503D7BD-7FED-D93F-77B7-E79E0557D853}" dt="2023-11-06T14:25:36.802" v="268" actId="14100"/>
          <ac:picMkLst>
            <pc:docMk/>
            <pc:sldMk cId="1470884166" sldId="348"/>
            <ac:picMk id="2" creationId="{A4EE841A-61A4-D9C5-EECC-974BA4D9A4EE}"/>
          </ac:picMkLst>
        </pc:picChg>
        <pc:picChg chg="del">
          <ac:chgData name="George Daish" userId="S::george.daish@ba.com::0bdcf7b5-cff9-4b38-bda9-e3bf90847f0a" providerId="AD" clId="Web-{5503D7BD-7FED-D93F-77B7-E79E0557D853}" dt="2023-11-06T12:35:54.465" v="153"/>
          <ac:picMkLst>
            <pc:docMk/>
            <pc:sldMk cId="1470884166" sldId="348"/>
            <ac:picMk id="3" creationId="{DD727BA7-FFFD-88E3-00D8-BEE843D1F379}"/>
          </ac:picMkLst>
        </pc:picChg>
        <pc:picChg chg="del">
          <ac:chgData name="George Daish" userId="S::george.daish@ba.com::0bdcf7b5-cff9-4b38-bda9-e3bf90847f0a" providerId="AD" clId="Web-{5503D7BD-7FED-D93F-77B7-E79E0557D853}" dt="2023-11-06T12:35:55.293" v="154"/>
          <ac:picMkLst>
            <pc:docMk/>
            <pc:sldMk cId="1470884166" sldId="348"/>
            <ac:picMk id="5" creationId="{86DF1BBB-E62D-FB96-4E91-733A942F52E1}"/>
          </ac:picMkLst>
        </pc:picChg>
        <pc:picChg chg="add mod ord">
          <ac:chgData name="George Daish" userId="S::george.daish@ba.com::0bdcf7b5-cff9-4b38-bda9-e3bf90847f0a" providerId="AD" clId="Web-{5503D7BD-7FED-D93F-77B7-E79E0557D853}" dt="2023-11-06T12:42:43.989" v="167" actId="1076"/>
          <ac:picMkLst>
            <pc:docMk/>
            <pc:sldMk cId="1470884166" sldId="348"/>
            <ac:picMk id="7" creationId="{1BB664C1-1841-A252-F0D9-94C5F42B566F}"/>
          </ac:picMkLst>
        </pc:picChg>
        <pc:picChg chg="add mod">
          <ac:chgData name="George Daish" userId="S::george.daish@ba.com::0bdcf7b5-cff9-4b38-bda9-e3bf90847f0a" providerId="AD" clId="Web-{5503D7BD-7FED-D93F-77B7-E79E0557D853}" dt="2023-11-06T13:14:00.803" v="261" actId="1076"/>
          <ac:picMkLst>
            <pc:docMk/>
            <pc:sldMk cId="1470884166" sldId="348"/>
            <ac:picMk id="8" creationId="{A5958DC6-2E5E-8BA7-8722-F77D157EF74B}"/>
          </ac:picMkLst>
        </pc:picChg>
        <pc:picChg chg="del">
          <ac:chgData name="George Daish" userId="S::george.daish@ba.com::0bdcf7b5-cff9-4b38-bda9-e3bf90847f0a" providerId="AD" clId="Web-{5503D7BD-7FED-D93F-77B7-E79E0557D853}" dt="2023-11-06T12:35:55.965" v="155"/>
          <ac:picMkLst>
            <pc:docMk/>
            <pc:sldMk cId="1470884166" sldId="348"/>
            <ac:picMk id="12" creationId="{625D0ACE-B830-9E9E-88CC-8CE7876C31CD}"/>
          </ac:picMkLst>
        </pc:picChg>
      </pc:sldChg>
      <pc:sldChg chg="addSp delSp modSp add replId">
        <pc:chgData name="George Daish" userId="S::george.daish@ba.com::0bdcf7b5-cff9-4b38-bda9-e3bf90847f0a" providerId="AD" clId="Web-{5503D7BD-7FED-D93F-77B7-E79E0557D853}" dt="2023-11-06T15:48:43.269" v="1088"/>
        <pc:sldMkLst>
          <pc:docMk/>
          <pc:sldMk cId="1863055191" sldId="349"/>
        </pc:sldMkLst>
        <pc:spChg chg="mod">
          <ac:chgData name="George Daish" userId="S::george.daish@ba.com::0bdcf7b5-cff9-4b38-bda9-e3bf90847f0a" providerId="AD" clId="Web-{5503D7BD-7FED-D93F-77B7-E79E0557D853}" dt="2023-11-06T15:42:03.660" v="1056" actId="1076"/>
          <ac:spMkLst>
            <pc:docMk/>
            <pc:sldMk cId="1863055191" sldId="349"/>
            <ac:spMk id="2" creationId="{796505FB-8EB9-E8AE-CB9E-6A1C1D1E99ED}"/>
          </ac:spMkLst>
        </pc:spChg>
        <pc:picChg chg="add del mod">
          <ac:chgData name="George Daish" userId="S::george.daish@ba.com::0bdcf7b5-cff9-4b38-bda9-e3bf90847f0a" providerId="AD" clId="Web-{5503D7BD-7FED-D93F-77B7-E79E0557D853}" dt="2023-11-06T15:48:37.034" v="1086"/>
          <ac:picMkLst>
            <pc:docMk/>
            <pc:sldMk cId="1863055191" sldId="349"/>
            <ac:picMk id="4" creationId="{7BC01778-0205-067D-614D-2FC111E18BEB}"/>
          </ac:picMkLst>
        </pc:picChg>
        <pc:picChg chg="add del mod">
          <ac:chgData name="George Daish" userId="S::george.daish@ba.com::0bdcf7b5-cff9-4b38-bda9-e3bf90847f0a" providerId="AD" clId="Web-{5503D7BD-7FED-D93F-77B7-E79E0557D853}" dt="2023-11-06T15:48:43.269" v="1088"/>
          <ac:picMkLst>
            <pc:docMk/>
            <pc:sldMk cId="1863055191" sldId="349"/>
            <ac:picMk id="5" creationId="{D4DE6416-F39A-D1AB-2B49-775A078959BC}"/>
          </ac:picMkLst>
        </pc:picChg>
      </pc:sldChg>
      <pc:sldChg chg="new del">
        <pc:chgData name="George Daish" userId="S::george.daish@ba.com::0bdcf7b5-cff9-4b38-bda9-e3bf90847f0a" providerId="AD" clId="Web-{5503D7BD-7FED-D93F-77B7-E79E0557D853}" dt="2023-11-06T14:35:50.559" v="310"/>
        <pc:sldMkLst>
          <pc:docMk/>
          <pc:sldMk cId="2581034856" sldId="349"/>
        </pc:sldMkLst>
      </pc:sldChg>
      <pc:sldChg chg="modSp new ord">
        <pc:chgData name="George Daish" userId="S::george.daish@ba.com::0bdcf7b5-cff9-4b38-bda9-e3bf90847f0a" providerId="AD" clId="Web-{5503D7BD-7FED-D93F-77B7-E79E0557D853}" dt="2023-11-06T16:24:01.520" v="1502" actId="20577"/>
        <pc:sldMkLst>
          <pc:docMk/>
          <pc:sldMk cId="1127646338" sldId="350"/>
        </pc:sldMkLst>
        <pc:spChg chg="mod">
          <ac:chgData name="George Daish" userId="S::george.daish@ba.com::0bdcf7b5-cff9-4b38-bda9-e3bf90847f0a" providerId="AD" clId="Web-{5503D7BD-7FED-D93F-77B7-E79E0557D853}" dt="2023-11-06T15:18:01.700" v="681" actId="20577"/>
          <ac:spMkLst>
            <pc:docMk/>
            <pc:sldMk cId="1127646338" sldId="350"/>
            <ac:spMk id="2" creationId="{10BD3CA5-63B5-0D6E-4F03-D47780DF0096}"/>
          </ac:spMkLst>
        </pc:spChg>
        <pc:spChg chg="mod">
          <ac:chgData name="George Daish" userId="S::george.daish@ba.com::0bdcf7b5-cff9-4b38-bda9-e3bf90847f0a" providerId="AD" clId="Web-{5503D7BD-7FED-D93F-77B7-E79E0557D853}" dt="2023-11-06T16:24:01.520" v="1502" actId="20577"/>
          <ac:spMkLst>
            <pc:docMk/>
            <pc:sldMk cId="1127646338" sldId="350"/>
            <ac:spMk id="3" creationId="{E303B717-07DA-E152-7424-40885222EA35}"/>
          </ac:spMkLst>
        </pc:spChg>
      </pc:sldChg>
      <pc:sldChg chg="new del">
        <pc:chgData name="George Daish" userId="S::george.daish@ba.com::0bdcf7b5-cff9-4b38-bda9-e3bf90847f0a" providerId="AD" clId="Web-{5503D7BD-7FED-D93F-77B7-E79E0557D853}" dt="2023-11-06T15:15:08.069" v="608"/>
        <pc:sldMkLst>
          <pc:docMk/>
          <pc:sldMk cId="3656322846" sldId="350"/>
        </pc:sldMkLst>
      </pc:sldChg>
      <pc:sldChg chg="add del replId">
        <pc:chgData name="George Daish" userId="S::george.daish@ba.com::0bdcf7b5-cff9-4b38-bda9-e3bf90847f0a" providerId="AD" clId="Web-{5503D7BD-7FED-D93F-77B7-E79E0557D853}" dt="2023-11-06T15:19:02.062" v="683"/>
        <pc:sldMkLst>
          <pc:docMk/>
          <pc:sldMk cId="591789162" sldId="351"/>
        </pc:sldMkLst>
      </pc:sldChg>
      <pc:sldChg chg="modSp new">
        <pc:chgData name="George Daish" userId="S::george.daish@ba.com::0bdcf7b5-cff9-4b38-bda9-e3bf90847f0a" providerId="AD" clId="Web-{5503D7BD-7FED-D93F-77B7-E79E0557D853}" dt="2023-11-06T15:21:17.520" v="757" actId="20577"/>
        <pc:sldMkLst>
          <pc:docMk/>
          <pc:sldMk cId="3547057334" sldId="351"/>
        </pc:sldMkLst>
        <pc:spChg chg="mod">
          <ac:chgData name="George Daish" userId="S::george.daish@ba.com::0bdcf7b5-cff9-4b38-bda9-e3bf90847f0a" providerId="AD" clId="Web-{5503D7BD-7FED-D93F-77B7-E79E0557D853}" dt="2023-11-06T15:20:34.159" v="720" actId="20577"/>
          <ac:spMkLst>
            <pc:docMk/>
            <pc:sldMk cId="3547057334" sldId="351"/>
            <ac:spMk id="2" creationId="{89A32BA5-E769-E6D0-CB13-61995D0BCFFA}"/>
          </ac:spMkLst>
        </pc:spChg>
        <pc:spChg chg="mod">
          <ac:chgData name="George Daish" userId="S::george.daish@ba.com::0bdcf7b5-cff9-4b38-bda9-e3bf90847f0a" providerId="AD" clId="Web-{5503D7BD-7FED-D93F-77B7-E79E0557D853}" dt="2023-11-06T15:20:59.316" v="736" actId="20577"/>
          <ac:spMkLst>
            <pc:docMk/>
            <pc:sldMk cId="3547057334" sldId="351"/>
            <ac:spMk id="3" creationId="{C8B5E476-7495-DAB1-444E-3B74763EE63C}"/>
          </ac:spMkLst>
        </pc:spChg>
        <pc:spChg chg="mod">
          <ac:chgData name="George Daish" userId="S::george.daish@ba.com::0bdcf7b5-cff9-4b38-bda9-e3bf90847f0a" providerId="AD" clId="Web-{5503D7BD-7FED-D93F-77B7-E79E0557D853}" dt="2023-11-06T15:21:17.520" v="757" actId="20577"/>
          <ac:spMkLst>
            <pc:docMk/>
            <pc:sldMk cId="3547057334" sldId="351"/>
            <ac:spMk id="4" creationId="{6EBA5AF0-C271-BD42-637F-8F3B57BE52D9}"/>
          </ac:spMkLst>
        </pc:spChg>
        <pc:spChg chg="mod">
          <ac:chgData name="George Daish" userId="S::george.daish@ba.com::0bdcf7b5-cff9-4b38-bda9-e3bf90847f0a" providerId="AD" clId="Web-{5503D7BD-7FED-D93F-77B7-E79E0557D853}" dt="2023-11-06T15:20:35.378" v="721" actId="20577"/>
          <ac:spMkLst>
            <pc:docMk/>
            <pc:sldMk cId="3547057334" sldId="351"/>
            <ac:spMk id="6" creationId="{16F35D82-5C61-981E-F14F-1B60A8609FBA}"/>
          </ac:spMkLst>
        </pc:spChg>
      </pc:sldChg>
      <pc:sldChg chg="addSp delSp modSp new ord">
        <pc:chgData name="George Daish" userId="S::george.daish@ba.com::0bdcf7b5-cff9-4b38-bda9-e3bf90847f0a" providerId="AD" clId="Web-{5503D7BD-7FED-D93F-77B7-E79E0557D853}" dt="2023-11-06T16:05:40.354" v="1138" actId="1076"/>
        <pc:sldMkLst>
          <pc:docMk/>
          <pc:sldMk cId="286604274" sldId="352"/>
        </pc:sldMkLst>
        <pc:spChg chg="mod">
          <ac:chgData name="George Daish" userId="S::george.daish@ba.com::0bdcf7b5-cff9-4b38-bda9-e3bf90847f0a" providerId="AD" clId="Web-{5503D7BD-7FED-D93F-77B7-E79E0557D853}" dt="2023-11-06T15:31:07.636" v="1037" actId="20577"/>
          <ac:spMkLst>
            <pc:docMk/>
            <pc:sldMk cId="286604274" sldId="352"/>
            <ac:spMk id="2" creationId="{251103C4-C1C3-1F41-5D4D-3ACB51F3F94E}"/>
          </ac:spMkLst>
        </pc:spChg>
        <pc:spChg chg="add del mod">
          <ac:chgData name="George Daish" userId="S::george.daish@ba.com::0bdcf7b5-cff9-4b38-bda9-e3bf90847f0a" providerId="AD" clId="Web-{5503D7BD-7FED-D93F-77B7-E79E0557D853}" dt="2023-11-06T15:47:07.484" v="1064"/>
          <ac:spMkLst>
            <pc:docMk/>
            <pc:sldMk cId="286604274" sldId="352"/>
            <ac:spMk id="3" creationId="{1DCAA5A2-F788-66C2-0976-91B39C7218A7}"/>
          </ac:spMkLst>
        </pc:spChg>
        <pc:spChg chg="add del mod">
          <ac:chgData name="George Daish" userId="S::george.daish@ba.com::0bdcf7b5-cff9-4b38-bda9-e3bf90847f0a" providerId="AD" clId="Web-{5503D7BD-7FED-D93F-77B7-E79E0557D853}" dt="2023-11-06T15:22:38.304" v="765"/>
          <ac:spMkLst>
            <pc:docMk/>
            <pc:sldMk cId="286604274" sldId="352"/>
            <ac:spMk id="4" creationId="{C0634975-7D34-B176-248C-44B95D88B0F9}"/>
          </ac:spMkLst>
        </pc:spChg>
        <pc:spChg chg="add del mod">
          <ac:chgData name="George Daish" userId="S::george.daish@ba.com::0bdcf7b5-cff9-4b38-bda9-e3bf90847f0a" providerId="AD" clId="Web-{5503D7BD-7FED-D93F-77B7-E79E0557D853}" dt="2023-11-06T15:47:07.484" v="1063"/>
          <ac:spMkLst>
            <pc:docMk/>
            <pc:sldMk cId="286604274" sldId="352"/>
            <ac:spMk id="5" creationId="{3EED6C4C-289E-8122-53C7-E44DC3AF5A4B}"/>
          </ac:spMkLst>
        </pc:spChg>
        <pc:spChg chg="add del mod">
          <ac:chgData name="George Daish" userId="S::george.daish@ba.com::0bdcf7b5-cff9-4b38-bda9-e3bf90847f0a" providerId="AD" clId="Web-{5503D7BD-7FED-D93F-77B7-E79E0557D853}" dt="2023-11-06T15:47:07.484" v="1062"/>
          <ac:spMkLst>
            <pc:docMk/>
            <pc:sldMk cId="286604274" sldId="352"/>
            <ac:spMk id="6" creationId="{29D1D040-4603-003F-CB4F-95780A5FD081}"/>
          </ac:spMkLst>
        </pc:spChg>
        <pc:spChg chg="add del mod">
          <ac:chgData name="George Daish" userId="S::george.daish@ba.com::0bdcf7b5-cff9-4b38-bda9-e3bf90847f0a" providerId="AD" clId="Web-{5503D7BD-7FED-D93F-77B7-E79E0557D853}" dt="2023-11-06T15:47:07.484" v="1061"/>
          <ac:spMkLst>
            <pc:docMk/>
            <pc:sldMk cId="286604274" sldId="352"/>
            <ac:spMk id="7" creationId="{B4D110DF-30FB-6E75-37DF-12E252F7E148}"/>
          </ac:spMkLst>
        </pc:spChg>
        <pc:spChg chg="add del mod">
          <ac:chgData name="George Daish" userId="S::george.daish@ba.com::0bdcf7b5-cff9-4b38-bda9-e3bf90847f0a" providerId="AD" clId="Web-{5503D7BD-7FED-D93F-77B7-E79E0557D853}" dt="2023-11-06T15:47:07.484" v="1060"/>
          <ac:spMkLst>
            <pc:docMk/>
            <pc:sldMk cId="286604274" sldId="352"/>
            <ac:spMk id="8" creationId="{31A9D532-A5B3-6BDE-4DBA-7CFCD8CAA3F2}"/>
          </ac:spMkLst>
        </pc:spChg>
        <pc:spChg chg="add del mod">
          <ac:chgData name="George Daish" userId="S::george.daish@ba.com::0bdcf7b5-cff9-4b38-bda9-e3bf90847f0a" providerId="AD" clId="Web-{5503D7BD-7FED-D93F-77B7-E79E0557D853}" dt="2023-11-06T15:47:07.484" v="1059"/>
          <ac:spMkLst>
            <pc:docMk/>
            <pc:sldMk cId="286604274" sldId="352"/>
            <ac:spMk id="9" creationId="{616C33A6-3A0D-0DCF-C4D9-E312FE4056F8}"/>
          </ac:spMkLst>
        </pc:spChg>
        <pc:picChg chg="add del mod">
          <ac:chgData name="George Daish" userId="S::george.daish@ba.com::0bdcf7b5-cff9-4b38-bda9-e3bf90847f0a" providerId="AD" clId="Web-{5503D7BD-7FED-D93F-77B7-E79E0557D853}" dt="2023-11-06T15:46:03.294" v="1057"/>
          <ac:picMkLst>
            <pc:docMk/>
            <pc:sldMk cId="286604274" sldId="352"/>
            <ac:picMk id="10" creationId="{4B8F6257-9F06-3CB0-B8A7-4D160E2B6DE5}"/>
          </ac:picMkLst>
        </pc:picChg>
        <pc:picChg chg="add mod">
          <ac:chgData name="George Daish" userId="S::george.daish@ba.com::0bdcf7b5-cff9-4b38-bda9-e3bf90847f0a" providerId="AD" clId="Web-{5503D7BD-7FED-D93F-77B7-E79E0557D853}" dt="2023-11-06T16:05:40.354" v="1138" actId="1076"/>
          <ac:picMkLst>
            <pc:docMk/>
            <pc:sldMk cId="286604274" sldId="352"/>
            <ac:picMk id="11" creationId="{DE05A9AC-FE04-4B97-E472-FAB0961A4C0D}"/>
          </ac:picMkLst>
        </pc:picChg>
      </pc:sldChg>
      <pc:sldChg chg="modSp new">
        <pc:chgData name="George Daish" userId="S::george.daish@ba.com::0bdcf7b5-cff9-4b38-bda9-e3bf90847f0a" providerId="AD" clId="Web-{5503D7BD-7FED-D93F-77B7-E79E0557D853}" dt="2023-11-06T16:14:51.124" v="1439" actId="20577"/>
        <pc:sldMkLst>
          <pc:docMk/>
          <pc:sldMk cId="2741567555" sldId="353"/>
        </pc:sldMkLst>
        <pc:spChg chg="mod">
          <ac:chgData name="George Daish" userId="S::george.daish@ba.com::0bdcf7b5-cff9-4b38-bda9-e3bf90847f0a" providerId="AD" clId="Web-{5503D7BD-7FED-D93F-77B7-E79E0557D853}" dt="2023-11-06T16:14:51.124" v="1439" actId="20577"/>
          <ac:spMkLst>
            <pc:docMk/>
            <pc:sldMk cId="2741567555" sldId="353"/>
            <ac:spMk id="2" creationId="{67319747-7DAA-CAD1-6B1B-2A0B8EF75625}"/>
          </ac:spMkLst>
        </pc:spChg>
      </pc:sldChg>
      <pc:sldChg chg="modSp add replId">
        <pc:chgData name="George Daish" userId="S::george.daish@ba.com::0bdcf7b5-cff9-4b38-bda9-e3bf90847f0a" providerId="AD" clId="Web-{5503D7BD-7FED-D93F-77B7-E79E0557D853}" dt="2023-11-06T16:14:47.343" v="1438" actId="20577"/>
        <pc:sldMkLst>
          <pc:docMk/>
          <pc:sldMk cId="125496638" sldId="354"/>
        </pc:sldMkLst>
        <pc:spChg chg="mod">
          <ac:chgData name="George Daish" userId="S::george.daish@ba.com::0bdcf7b5-cff9-4b38-bda9-e3bf90847f0a" providerId="AD" clId="Web-{5503D7BD-7FED-D93F-77B7-E79E0557D853}" dt="2023-11-06T16:14:47.343" v="1438" actId="20577"/>
          <ac:spMkLst>
            <pc:docMk/>
            <pc:sldMk cId="125496638" sldId="354"/>
            <ac:spMk id="2" creationId="{67319747-7DAA-CAD1-6B1B-2A0B8EF75625}"/>
          </ac:spMkLst>
        </pc:spChg>
      </pc:sldChg>
      <pc:sldChg chg="modSp add replId">
        <pc:chgData name="George Daish" userId="S::george.daish@ba.com::0bdcf7b5-cff9-4b38-bda9-e3bf90847f0a" providerId="AD" clId="Web-{5503D7BD-7FED-D93F-77B7-E79E0557D853}" dt="2023-11-06T16:14:38.889" v="1437" actId="20577"/>
        <pc:sldMkLst>
          <pc:docMk/>
          <pc:sldMk cId="3132676434" sldId="355"/>
        </pc:sldMkLst>
        <pc:spChg chg="mod">
          <ac:chgData name="George Daish" userId="S::george.daish@ba.com::0bdcf7b5-cff9-4b38-bda9-e3bf90847f0a" providerId="AD" clId="Web-{5503D7BD-7FED-D93F-77B7-E79E0557D853}" dt="2023-11-06T16:14:38.889" v="1437" actId="20577"/>
          <ac:spMkLst>
            <pc:docMk/>
            <pc:sldMk cId="3132676434" sldId="355"/>
            <ac:spMk id="2" creationId="{67319747-7DAA-CAD1-6B1B-2A0B8EF75625}"/>
          </ac:spMkLst>
        </pc:spChg>
      </pc:sldChg>
      <pc:sldChg chg="modSp add ord replId">
        <pc:chgData name="George Daish" userId="S::george.daish@ba.com::0bdcf7b5-cff9-4b38-bda9-e3bf90847f0a" providerId="AD" clId="Web-{5503D7BD-7FED-D93F-77B7-E79E0557D853}" dt="2023-11-06T16:14:25.436" v="1435" actId="20577"/>
        <pc:sldMkLst>
          <pc:docMk/>
          <pc:sldMk cId="1376581799" sldId="356"/>
        </pc:sldMkLst>
        <pc:spChg chg="mod">
          <ac:chgData name="George Daish" userId="S::george.daish@ba.com::0bdcf7b5-cff9-4b38-bda9-e3bf90847f0a" providerId="AD" clId="Web-{5503D7BD-7FED-D93F-77B7-E79E0557D853}" dt="2023-11-06T16:14:25.436" v="1435" actId="20577"/>
          <ac:spMkLst>
            <pc:docMk/>
            <pc:sldMk cId="1376581799" sldId="356"/>
            <ac:spMk id="2" creationId="{67319747-7DAA-CAD1-6B1B-2A0B8EF75625}"/>
          </ac:spMkLst>
        </pc:spChg>
      </pc:sldChg>
      <pc:sldChg chg="modSp add replId">
        <pc:chgData name="George Daish" userId="S::george.daish@ba.com::0bdcf7b5-cff9-4b38-bda9-e3bf90847f0a" providerId="AD" clId="Web-{5503D7BD-7FED-D93F-77B7-E79E0557D853}" dt="2023-11-06T16:14:33.420" v="1436" actId="20577"/>
        <pc:sldMkLst>
          <pc:docMk/>
          <pc:sldMk cId="660809886" sldId="357"/>
        </pc:sldMkLst>
        <pc:spChg chg="mod">
          <ac:chgData name="George Daish" userId="S::george.daish@ba.com::0bdcf7b5-cff9-4b38-bda9-e3bf90847f0a" providerId="AD" clId="Web-{5503D7BD-7FED-D93F-77B7-E79E0557D853}" dt="2023-11-06T16:14:33.420" v="1436" actId="20577"/>
          <ac:spMkLst>
            <pc:docMk/>
            <pc:sldMk cId="660809886" sldId="357"/>
            <ac:spMk id="2" creationId="{67319747-7DAA-CAD1-6B1B-2A0B8EF75625}"/>
          </ac:spMkLst>
        </pc:spChg>
      </pc:sldChg>
      <pc:sldChg chg="modSp new">
        <pc:chgData name="George Daish" userId="S::george.daish@ba.com::0bdcf7b5-cff9-4b38-bda9-e3bf90847f0a" providerId="AD" clId="Web-{5503D7BD-7FED-D93F-77B7-E79E0557D853}" dt="2023-11-06T16:13:50.559" v="1434" actId="20577"/>
        <pc:sldMkLst>
          <pc:docMk/>
          <pc:sldMk cId="4149907152" sldId="358"/>
        </pc:sldMkLst>
        <pc:spChg chg="mod">
          <ac:chgData name="George Daish" userId="S::george.daish@ba.com::0bdcf7b5-cff9-4b38-bda9-e3bf90847f0a" providerId="AD" clId="Web-{5503D7BD-7FED-D93F-77B7-E79E0557D853}" dt="2023-11-06T16:13:50.559" v="1434" actId="20577"/>
          <ac:spMkLst>
            <pc:docMk/>
            <pc:sldMk cId="4149907152" sldId="358"/>
            <ac:spMk id="2" creationId="{71757EC4-6200-3EEA-4EAC-1A0F0F52F597}"/>
          </ac:spMkLst>
        </pc:spChg>
      </pc:sldChg>
      <pc:sldChg chg="modSp add ord replId">
        <pc:chgData name="George Daish" userId="S::george.daish@ba.com::0bdcf7b5-cff9-4b38-bda9-e3bf90847f0a" providerId="AD" clId="Web-{5503D7BD-7FED-D93F-77B7-E79E0557D853}" dt="2023-11-06T16:23:38.472" v="1484"/>
        <pc:sldMkLst>
          <pc:docMk/>
          <pc:sldMk cId="4149096652" sldId="359"/>
        </pc:sldMkLst>
        <pc:spChg chg="mod">
          <ac:chgData name="George Daish" userId="S::george.daish@ba.com::0bdcf7b5-cff9-4b38-bda9-e3bf90847f0a" providerId="AD" clId="Web-{5503D7BD-7FED-D93F-77B7-E79E0557D853}" dt="2023-11-06T16:18:04.975" v="1482" actId="20577"/>
          <ac:spMkLst>
            <pc:docMk/>
            <pc:sldMk cId="4149096652" sldId="359"/>
            <ac:spMk id="2" creationId="{796505FB-8EB9-E8AE-CB9E-6A1C1D1E99ED}"/>
          </ac:spMkLst>
        </pc:spChg>
      </pc:sldChg>
      <pc:sldChg chg="new del">
        <pc:chgData name="George Daish" userId="S::george.daish@ba.com::0bdcf7b5-cff9-4b38-bda9-e3bf90847f0a" providerId="AD" clId="Web-{5503D7BD-7FED-D93F-77B7-E79E0557D853}" dt="2023-11-06T16:24:35.193" v="1505"/>
        <pc:sldMkLst>
          <pc:docMk/>
          <pc:sldMk cId="2529461250" sldId="360"/>
        </pc:sldMkLst>
      </pc:sldChg>
    </pc:docChg>
  </pc:docChgLst>
  <pc:docChgLst>
    <pc:chgData name="Ian Ma" userId="S::ian.ma@ba.com::040dbc55-79cb-41a3-ad64-16484e61cc10" providerId="AD" clId="Web-{2286DFAD-338E-875B-6C05-F5777216B68E}"/>
    <pc:docChg chg="modSld">
      <pc:chgData name="Ian Ma" userId="S::ian.ma@ba.com::040dbc55-79cb-41a3-ad64-16484e61cc10" providerId="AD" clId="Web-{2286DFAD-338E-875B-6C05-F5777216B68E}" dt="2023-11-08T10:55:45.140" v="246" actId="1076"/>
      <pc:docMkLst>
        <pc:docMk/>
      </pc:docMkLst>
      <pc:sldChg chg="modNotes">
        <pc:chgData name="Ian Ma" userId="S::ian.ma@ba.com::040dbc55-79cb-41a3-ad64-16484e61cc10" providerId="AD" clId="Web-{2286DFAD-338E-875B-6C05-F5777216B68E}" dt="2023-11-08T10:33:54.596" v="203"/>
        <pc:sldMkLst>
          <pc:docMk/>
          <pc:sldMk cId="286604274" sldId="352"/>
        </pc:sldMkLst>
      </pc:sldChg>
      <pc:sldChg chg="addSp delSp modSp modNotes">
        <pc:chgData name="Ian Ma" userId="S::ian.ma@ba.com::040dbc55-79cb-41a3-ad64-16484e61cc10" providerId="AD" clId="Web-{2286DFAD-338E-875B-6C05-F5777216B68E}" dt="2023-11-08T10:55:45.140" v="246" actId="1076"/>
        <pc:sldMkLst>
          <pc:docMk/>
          <pc:sldMk cId="2453761382" sldId="360"/>
        </pc:sldMkLst>
        <pc:spChg chg="add mod">
          <ac:chgData name="Ian Ma" userId="S::ian.ma@ba.com::040dbc55-79cb-41a3-ad64-16484e61cc10" providerId="AD" clId="Web-{2286DFAD-338E-875B-6C05-F5777216B68E}" dt="2023-11-08T10:54:23.623" v="217"/>
          <ac:spMkLst>
            <pc:docMk/>
            <pc:sldMk cId="2453761382" sldId="360"/>
            <ac:spMk id="5" creationId="{399DB134-431C-6AFE-3934-04E5ED32DE36}"/>
          </ac:spMkLst>
        </pc:spChg>
        <pc:spChg chg="del mod">
          <ac:chgData name="Ian Ma" userId="S::ian.ma@ba.com::040dbc55-79cb-41a3-ad64-16484e61cc10" providerId="AD" clId="Web-{2286DFAD-338E-875B-6C05-F5777216B68E}" dt="2023-11-08T10:54:23.623" v="217"/>
          <ac:spMkLst>
            <pc:docMk/>
            <pc:sldMk cId="2453761382" sldId="360"/>
            <ac:spMk id="10" creationId="{60BF23AC-82CD-2245-BDB7-63ED03BE65B3}"/>
          </ac:spMkLst>
        </pc:spChg>
        <pc:graphicFrameChg chg="mod modGraphic">
          <ac:chgData name="Ian Ma" userId="S::ian.ma@ba.com::040dbc55-79cb-41a3-ad64-16484e61cc10" providerId="AD" clId="Web-{2286DFAD-338E-875B-6C05-F5777216B68E}" dt="2023-11-08T10:55:45.140" v="246" actId="1076"/>
          <ac:graphicFrameMkLst>
            <pc:docMk/>
            <pc:sldMk cId="2453761382" sldId="360"/>
            <ac:graphicFrameMk id="2" creationId="{D6690053-D673-767A-74D9-1DC60B021D8D}"/>
          </ac:graphicFrameMkLst>
        </pc:graphicFrameChg>
      </pc:sldChg>
      <pc:sldChg chg="modSp">
        <pc:chgData name="Ian Ma" userId="S::ian.ma@ba.com::040dbc55-79cb-41a3-ad64-16484e61cc10" providerId="AD" clId="Web-{2286DFAD-338E-875B-6C05-F5777216B68E}" dt="2023-11-08T09:19:38.747" v="0" actId="20577"/>
        <pc:sldMkLst>
          <pc:docMk/>
          <pc:sldMk cId="2097779950" sldId="362"/>
        </pc:sldMkLst>
        <pc:spChg chg="mod">
          <ac:chgData name="Ian Ma" userId="S::ian.ma@ba.com::040dbc55-79cb-41a3-ad64-16484e61cc10" providerId="AD" clId="Web-{2286DFAD-338E-875B-6C05-F5777216B68E}" dt="2023-11-08T09:19:38.747" v="0" actId="20577"/>
          <ac:spMkLst>
            <pc:docMk/>
            <pc:sldMk cId="2097779950" sldId="362"/>
            <ac:spMk id="3" creationId="{73691022-D419-8B46-2C00-67A0A4AAAFAE}"/>
          </ac:spMkLst>
        </pc:spChg>
      </pc:sldChg>
      <pc:sldChg chg="modSp">
        <pc:chgData name="Ian Ma" userId="S::ian.ma@ba.com::040dbc55-79cb-41a3-ad64-16484e61cc10" providerId="AD" clId="Web-{2286DFAD-338E-875B-6C05-F5777216B68E}" dt="2023-11-08T10:30:48.920" v="186" actId="20577"/>
        <pc:sldMkLst>
          <pc:docMk/>
          <pc:sldMk cId="4265139455" sldId="363"/>
        </pc:sldMkLst>
        <pc:spChg chg="mod">
          <ac:chgData name="Ian Ma" userId="S::ian.ma@ba.com::040dbc55-79cb-41a3-ad64-16484e61cc10" providerId="AD" clId="Web-{2286DFAD-338E-875B-6C05-F5777216B68E}" dt="2023-11-08T10:30:48.920" v="186" actId="20577"/>
          <ac:spMkLst>
            <pc:docMk/>
            <pc:sldMk cId="4265139455" sldId="363"/>
            <ac:spMk id="3" creationId="{E0838D19-5551-559A-D4D9-15E3DF046361}"/>
          </ac:spMkLst>
        </pc:spChg>
      </pc:sldChg>
    </pc:docChg>
  </pc:docChgLst>
  <pc:docChgLst>
    <pc:chgData name="Ian Ma" userId="S::ian.ma@ba.com::040dbc55-79cb-41a3-ad64-16484e61cc10" providerId="AD" clId="Web-{53A9B8F6-08A2-FBB6-AB76-2FE601E32098}"/>
    <pc:docChg chg="modSld">
      <pc:chgData name="Ian Ma" userId="S::ian.ma@ba.com::040dbc55-79cb-41a3-ad64-16484e61cc10" providerId="AD" clId="Web-{53A9B8F6-08A2-FBB6-AB76-2FE601E32098}" dt="2023-11-06T16:24:48.759" v="19" actId="20577"/>
      <pc:docMkLst>
        <pc:docMk/>
      </pc:docMkLst>
      <pc:sldChg chg="addSp modSp mod modClrScheme chgLayout">
        <pc:chgData name="Ian Ma" userId="S::ian.ma@ba.com::040dbc55-79cb-41a3-ad64-16484e61cc10" providerId="AD" clId="Web-{53A9B8F6-08A2-FBB6-AB76-2FE601E32098}" dt="2023-11-06T16:24:48.759" v="19" actId="20577"/>
        <pc:sldMkLst>
          <pc:docMk/>
          <pc:sldMk cId="3132676434" sldId="355"/>
        </pc:sldMkLst>
        <pc:spChg chg="mod ord">
          <ac:chgData name="Ian Ma" userId="S::ian.ma@ba.com::040dbc55-79cb-41a3-ad64-16484e61cc10" providerId="AD" clId="Web-{53A9B8F6-08A2-FBB6-AB76-2FE601E32098}" dt="2023-11-06T16:24:37.103" v="0"/>
          <ac:spMkLst>
            <pc:docMk/>
            <pc:sldMk cId="3132676434" sldId="355"/>
            <ac:spMk id="2" creationId="{67319747-7DAA-CAD1-6B1B-2A0B8EF75625}"/>
          </ac:spMkLst>
        </pc:spChg>
        <pc:spChg chg="add mod ord">
          <ac:chgData name="Ian Ma" userId="S::ian.ma@ba.com::040dbc55-79cb-41a3-ad64-16484e61cc10" providerId="AD" clId="Web-{53A9B8F6-08A2-FBB6-AB76-2FE601E32098}" dt="2023-11-06T16:24:48.759" v="19" actId="20577"/>
          <ac:spMkLst>
            <pc:docMk/>
            <pc:sldMk cId="3132676434" sldId="355"/>
            <ac:spMk id="3" creationId="{4014D9D7-9793-03AC-E23D-56E860C20465}"/>
          </ac:spMkLst>
        </pc:spChg>
      </pc:sldChg>
    </pc:docChg>
  </pc:docChgLst>
  <pc:docChgLst>
    <pc:chgData name="Ian Ma" userId="S::ian.ma@ba.com::040dbc55-79cb-41a3-ad64-16484e61cc10" providerId="AD" clId="Web-{B6A8F778-5433-8F34-0056-094F756830E2}"/>
    <pc:docChg chg="modSld">
      <pc:chgData name="Ian Ma" userId="S::ian.ma@ba.com::040dbc55-79cb-41a3-ad64-16484e61cc10" providerId="AD" clId="Web-{B6A8F778-5433-8F34-0056-094F756830E2}" dt="2023-11-07T13:28:55.893" v="177"/>
      <pc:docMkLst>
        <pc:docMk/>
      </pc:docMkLst>
      <pc:sldChg chg="addSp modSp mod modClrScheme chgLayout">
        <pc:chgData name="Ian Ma" userId="S::ian.ma@ba.com::040dbc55-79cb-41a3-ad64-16484e61cc10" providerId="AD" clId="Web-{B6A8F778-5433-8F34-0056-094F756830E2}" dt="2023-11-07T13:26:31.372" v="87" actId="20577"/>
        <pc:sldMkLst>
          <pc:docMk/>
          <pc:sldMk cId="1376581799" sldId="356"/>
        </pc:sldMkLst>
        <pc:spChg chg="mod ord">
          <ac:chgData name="Ian Ma" userId="S::ian.ma@ba.com::040dbc55-79cb-41a3-ad64-16484e61cc10" providerId="AD" clId="Web-{B6A8F778-5433-8F34-0056-094F756830E2}" dt="2023-11-07T13:24:57.291" v="0"/>
          <ac:spMkLst>
            <pc:docMk/>
            <pc:sldMk cId="1376581799" sldId="356"/>
            <ac:spMk id="2" creationId="{67319747-7DAA-CAD1-6B1B-2A0B8EF75625}"/>
          </ac:spMkLst>
        </pc:spChg>
        <pc:spChg chg="add mod ord">
          <ac:chgData name="Ian Ma" userId="S::ian.ma@ba.com::040dbc55-79cb-41a3-ad64-16484e61cc10" providerId="AD" clId="Web-{B6A8F778-5433-8F34-0056-094F756830E2}" dt="2023-11-07T13:26:31.372" v="87" actId="20577"/>
          <ac:spMkLst>
            <pc:docMk/>
            <pc:sldMk cId="1376581799" sldId="356"/>
            <ac:spMk id="3" creationId="{E0838D19-5551-559A-D4D9-15E3DF046361}"/>
          </ac:spMkLst>
        </pc:spChg>
      </pc:sldChg>
      <pc:sldChg chg="addSp modSp mod modClrScheme chgLayout">
        <pc:chgData name="Ian Ma" userId="S::ian.ma@ba.com::040dbc55-79cb-41a3-ad64-16484e61cc10" providerId="AD" clId="Web-{B6A8F778-5433-8F34-0056-094F756830E2}" dt="2023-11-07T13:27:49.516" v="173" actId="20577"/>
        <pc:sldMkLst>
          <pc:docMk/>
          <pc:sldMk cId="4149907152" sldId="358"/>
        </pc:sldMkLst>
        <pc:spChg chg="mod ord">
          <ac:chgData name="Ian Ma" userId="S::ian.ma@ba.com::040dbc55-79cb-41a3-ad64-16484e61cc10" providerId="AD" clId="Web-{B6A8F778-5433-8F34-0056-094F756830E2}" dt="2023-11-07T13:26:54.858" v="88"/>
          <ac:spMkLst>
            <pc:docMk/>
            <pc:sldMk cId="4149907152" sldId="358"/>
            <ac:spMk id="2" creationId="{71757EC4-6200-3EEA-4EAC-1A0F0F52F597}"/>
          </ac:spMkLst>
        </pc:spChg>
        <pc:spChg chg="add mod ord">
          <ac:chgData name="Ian Ma" userId="S::ian.ma@ba.com::040dbc55-79cb-41a3-ad64-16484e61cc10" providerId="AD" clId="Web-{B6A8F778-5433-8F34-0056-094F756830E2}" dt="2023-11-07T13:27:49.516" v="173" actId="20577"/>
          <ac:spMkLst>
            <pc:docMk/>
            <pc:sldMk cId="4149907152" sldId="358"/>
            <ac:spMk id="3" creationId="{DEDF222D-A50B-312E-0938-ACDE513107C5}"/>
          </ac:spMkLst>
        </pc:spChg>
      </pc:sldChg>
      <pc:sldChg chg="addSp delSp modSp mod modClrScheme chgLayout">
        <pc:chgData name="Ian Ma" userId="S::ian.ma@ba.com::040dbc55-79cb-41a3-ad64-16484e61cc10" providerId="AD" clId="Web-{B6A8F778-5433-8F34-0056-094F756830E2}" dt="2023-11-07T13:28:55.893" v="177"/>
        <pc:sldMkLst>
          <pc:docMk/>
          <pc:sldMk cId="2453761382" sldId="360"/>
        </pc:sldMkLst>
        <pc:spChg chg="mod">
          <ac:chgData name="Ian Ma" userId="S::ian.ma@ba.com::040dbc55-79cb-41a3-ad64-16484e61cc10" providerId="AD" clId="Web-{B6A8F778-5433-8F34-0056-094F756830E2}" dt="2023-11-07T13:28:55.893" v="177"/>
          <ac:spMkLst>
            <pc:docMk/>
            <pc:sldMk cId="2453761382" sldId="360"/>
            <ac:spMk id="3" creationId="{21ACAE11-3E2A-390A-9137-6193F6C70180}"/>
          </ac:spMkLst>
        </pc:spChg>
        <pc:spChg chg="mod ord">
          <ac:chgData name="Ian Ma" userId="S::ian.ma@ba.com::040dbc55-79cb-41a3-ad64-16484e61cc10" providerId="AD" clId="Web-{B6A8F778-5433-8F34-0056-094F756830E2}" dt="2023-11-07T13:28:55.893" v="177"/>
          <ac:spMkLst>
            <pc:docMk/>
            <pc:sldMk cId="2453761382" sldId="360"/>
            <ac:spMk id="10" creationId="{60BF23AC-82CD-2245-BDB7-63ED03BE65B3}"/>
          </ac:spMkLst>
        </pc:spChg>
        <pc:spChg chg="add del mod">
          <ac:chgData name="Ian Ma" userId="S::ian.ma@ba.com::040dbc55-79cb-41a3-ad64-16484e61cc10" providerId="AD" clId="Web-{B6A8F778-5433-8F34-0056-094F756830E2}" dt="2023-11-07T13:28:51.581" v="175"/>
          <ac:spMkLst>
            <pc:docMk/>
            <pc:sldMk cId="2453761382" sldId="360"/>
            <ac:spMk id="19" creationId="{5E0CAC22-0830-19C8-B3E7-ACADD80835BC}"/>
          </ac:spMkLst>
        </pc:spChg>
        <pc:spChg chg="add del mod">
          <ac:chgData name="Ian Ma" userId="S::ian.ma@ba.com::040dbc55-79cb-41a3-ad64-16484e61cc10" providerId="AD" clId="Web-{B6A8F778-5433-8F34-0056-094F756830E2}" dt="2023-11-07T13:28:55.893" v="177"/>
          <ac:spMkLst>
            <pc:docMk/>
            <pc:sldMk cId="2453761382" sldId="360"/>
            <ac:spMk id="21" creationId="{188D78DF-7868-3F02-4678-135EA6EE2B2B}"/>
          </ac:spMkLst>
        </pc:spChg>
        <pc:spChg chg="add del mod">
          <ac:chgData name="Ian Ma" userId="S::ian.ma@ba.com::040dbc55-79cb-41a3-ad64-16484e61cc10" providerId="AD" clId="Web-{B6A8F778-5433-8F34-0056-094F756830E2}" dt="2023-11-07T13:28:55.893" v="177"/>
          <ac:spMkLst>
            <pc:docMk/>
            <pc:sldMk cId="2453761382" sldId="360"/>
            <ac:spMk id="22" creationId="{AD98187E-ED53-DEB1-A1CA-25827E80DAC2}"/>
          </ac:spMkLst>
        </pc:spChg>
        <pc:spChg chg="add del mod">
          <ac:chgData name="Ian Ma" userId="S::ian.ma@ba.com::040dbc55-79cb-41a3-ad64-16484e61cc10" providerId="AD" clId="Web-{B6A8F778-5433-8F34-0056-094F756830E2}" dt="2023-11-07T13:28:55.893" v="177"/>
          <ac:spMkLst>
            <pc:docMk/>
            <pc:sldMk cId="2453761382" sldId="360"/>
            <ac:spMk id="23" creationId="{E26271DB-0B11-FAFE-ADC9-5EC994312978}"/>
          </ac:spMkLst>
        </pc:spChg>
        <pc:spChg chg="add del mod">
          <ac:chgData name="Ian Ma" userId="S::ian.ma@ba.com::040dbc55-79cb-41a3-ad64-16484e61cc10" providerId="AD" clId="Web-{B6A8F778-5433-8F34-0056-094F756830E2}" dt="2023-11-07T13:28:55.893" v="177"/>
          <ac:spMkLst>
            <pc:docMk/>
            <pc:sldMk cId="2453761382" sldId="360"/>
            <ac:spMk id="25" creationId="{F51712FC-9FCA-DDAB-C66C-76474343A16A}"/>
          </ac:spMkLst>
        </pc:spChg>
        <pc:picChg chg="mod">
          <ac:chgData name="Ian Ma" userId="S::ian.ma@ba.com::040dbc55-79cb-41a3-ad64-16484e61cc10" providerId="AD" clId="Web-{B6A8F778-5433-8F34-0056-094F756830E2}" dt="2023-11-07T13:28:55.893" v="177"/>
          <ac:picMkLst>
            <pc:docMk/>
            <pc:sldMk cId="2453761382" sldId="360"/>
            <ac:picMk id="9" creationId="{C2CF851A-CBD1-18EE-A146-2F471A00134B}"/>
          </ac:picMkLst>
        </pc:picChg>
        <pc:picChg chg="mod">
          <ac:chgData name="Ian Ma" userId="S::ian.ma@ba.com::040dbc55-79cb-41a3-ad64-16484e61cc10" providerId="AD" clId="Web-{B6A8F778-5433-8F34-0056-094F756830E2}" dt="2023-11-07T13:28:55.893" v="177"/>
          <ac:picMkLst>
            <pc:docMk/>
            <pc:sldMk cId="2453761382" sldId="360"/>
            <ac:picMk id="14" creationId="{EF625736-2F4A-AD54-0E6A-570C47897C01}"/>
          </ac:picMkLst>
        </pc:picChg>
      </pc:sldChg>
    </pc:docChg>
  </pc:docChgLst>
  <pc:docChgLst>
    <pc:chgData name="Ian Ma" userId="S::ian.ma@ba.com::040dbc55-79cb-41a3-ad64-16484e61cc10" providerId="AD" clId="Web-{E48C92D1-3972-64A3-3E7A-9C6154163F46}"/>
    <pc:docChg chg="addSld delSld modSld sldOrd">
      <pc:chgData name="Ian Ma" userId="S::ian.ma@ba.com::040dbc55-79cb-41a3-ad64-16484e61cc10" providerId="AD" clId="Web-{E48C92D1-3972-64A3-3E7A-9C6154163F46}" dt="2023-11-08T13:07:09.357" v="1126"/>
      <pc:docMkLst>
        <pc:docMk/>
      </pc:docMkLst>
      <pc:sldChg chg="modSp modNotes">
        <pc:chgData name="Ian Ma" userId="S::ian.ma@ba.com::040dbc55-79cb-41a3-ad64-16484e61cc10" providerId="AD" clId="Web-{E48C92D1-3972-64A3-3E7A-9C6154163F46}" dt="2023-11-08T13:07:07.138" v="1123"/>
        <pc:sldMkLst>
          <pc:docMk/>
          <pc:sldMk cId="380097703" sldId="336"/>
        </pc:sldMkLst>
        <pc:graphicFrameChg chg="mod modGraphic">
          <ac:chgData name="Ian Ma" userId="S::ian.ma@ba.com::040dbc55-79cb-41a3-ad64-16484e61cc10" providerId="AD" clId="Web-{E48C92D1-3972-64A3-3E7A-9C6154163F46}" dt="2023-11-08T12:59:28.714" v="964"/>
          <ac:graphicFrameMkLst>
            <pc:docMk/>
            <pc:sldMk cId="380097703" sldId="336"/>
            <ac:graphicFrameMk id="7" creationId="{3C7159B7-7C5C-50B8-D4FC-A81AA67C9A20}"/>
          </ac:graphicFrameMkLst>
        </pc:graphicFrameChg>
      </pc:sldChg>
      <pc:sldChg chg="del">
        <pc:chgData name="Ian Ma" userId="S::ian.ma@ba.com::040dbc55-79cb-41a3-ad64-16484e61cc10" providerId="AD" clId="Web-{E48C92D1-3972-64A3-3E7A-9C6154163F46}" dt="2023-11-08T11:35:32.035" v="268"/>
        <pc:sldMkLst>
          <pc:docMk/>
          <pc:sldMk cId="286604274" sldId="352"/>
        </pc:sldMkLst>
      </pc:sldChg>
      <pc:sldChg chg="modSp">
        <pc:chgData name="Ian Ma" userId="S::ian.ma@ba.com::040dbc55-79cb-41a3-ad64-16484e61cc10" providerId="AD" clId="Web-{E48C92D1-3972-64A3-3E7A-9C6154163F46}" dt="2023-11-08T11:31:22.388" v="160" actId="20577"/>
        <pc:sldMkLst>
          <pc:docMk/>
          <pc:sldMk cId="2741567555" sldId="353"/>
        </pc:sldMkLst>
        <pc:spChg chg="mod">
          <ac:chgData name="Ian Ma" userId="S::ian.ma@ba.com::040dbc55-79cb-41a3-ad64-16484e61cc10" providerId="AD" clId="Web-{E48C92D1-3972-64A3-3E7A-9C6154163F46}" dt="2023-11-08T11:31:22.388" v="160" actId="20577"/>
          <ac:spMkLst>
            <pc:docMk/>
            <pc:sldMk cId="2741567555" sldId="353"/>
            <ac:spMk id="3" creationId="{F8D4DA9C-A75A-8BA1-7D52-950F7DD3AE4F}"/>
          </ac:spMkLst>
        </pc:spChg>
      </pc:sldChg>
      <pc:sldChg chg="del">
        <pc:chgData name="Ian Ma" userId="S::ian.ma@ba.com::040dbc55-79cb-41a3-ad64-16484e61cc10" providerId="AD" clId="Web-{E48C92D1-3972-64A3-3E7A-9C6154163F46}" dt="2023-11-08T11:33:42.471" v="261"/>
        <pc:sldMkLst>
          <pc:docMk/>
          <pc:sldMk cId="125496638" sldId="354"/>
        </pc:sldMkLst>
      </pc:sldChg>
      <pc:sldChg chg="del ord">
        <pc:chgData name="Ian Ma" userId="S::ian.ma@ba.com::040dbc55-79cb-41a3-ad64-16484e61cc10" providerId="AD" clId="Web-{E48C92D1-3972-64A3-3E7A-9C6154163F46}" dt="2023-11-08T11:34:43.003" v="265"/>
        <pc:sldMkLst>
          <pc:docMk/>
          <pc:sldMk cId="3132676434" sldId="355"/>
        </pc:sldMkLst>
      </pc:sldChg>
      <pc:sldChg chg="del">
        <pc:chgData name="Ian Ma" userId="S::ian.ma@ba.com::040dbc55-79cb-41a3-ad64-16484e61cc10" providerId="AD" clId="Web-{E48C92D1-3972-64A3-3E7A-9C6154163F46}" dt="2023-11-08T11:35:05.144" v="266"/>
        <pc:sldMkLst>
          <pc:docMk/>
          <pc:sldMk cId="1376581799" sldId="356"/>
        </pc:sldMkLst>
      </pc:sldChg>
      <pc:sldChg chg="del">
        <pc:chgData name="Ian Ma" userId="S::ian.ma@ba.com::040dbc55-79cb-41a3-ad64-16484e61cc10" providerId="AD" clId="Web-{E48C92D1-3972-64A3-3E7A-9C6154163F46}" dt="2023-11-08T11:35:21.957" v="267"/>
        <pc:sldMkLst>
          <pc:docMk/>
          <pc:sldMk cId="4149907152" sldId="358"/>
        </pc:sldMkLst>
      </pc:sldChg>
      <pc:sldChg chg="delSp modSp">
        <pc:chgData name="Ian Ma" userId="S::ian.ma@ba.com::040dbc55-79cb-41a3-ad64-16484e61cc10" providerId="AD" clId="Web-{E48C92D1-3972-64A3-3E7A-9C6154163F46}" dt="2023-11-08T11:12:00.687" v="25"/>
        <pc:sldMkLst>
          <pc:docMk/>
          <pc:sldMk cId="2453761382" sldId="360"/>
        </pc:sldMkLst>
        <pc:spChg chg="del mod">
          <ac:chgData name="Ian Ma" userId="S::ian.ma@ba.com::040dbc55-79cb-41a3-ad64-16484e61cc10" providerId="AD" clId="Web-{E48C92D1-3972-64A3-3E7A-9C6154163F46}" dt="2023-11-08T11:11:56.468" v="24"/>
          <ac:spMkLst>
            <pc:docMk/>
            <pc:sldMk cId="2453761382" sldId="360"/>
            <ac:spMk id="5" creationId="{399DB134-431C-6AFE-3934-04E5ED32DE36}"/>
          </ac:spMkLst>
        </pc:spChg>
        <pc:picChg chg="mod">
          <ac:chgData name="Ian Ma" userId="S::ian.ma@ba.com::040dbc55-79cb-41a3-ad64-16484e61cc10" providerId="AD" clId="Web-{E48C92D1-3972-64A3-3E7A-9C6154163F46}" dt="2023-11-08T11:12:00.687" v="25"/>
          <ac:picMkLst>
            <pc:docMk/>
            <pc:sldMk cId="2453761382" sldId="360"/>
            <ac:picMk id="6" creationId="{4FD0F368-3347-852D-0CC5-62027ED6A127}"/>
          </ac:picMkLst>
        </pc:picChg>
      </pc:sldChg>
      <pc:sldChg chg="del">
        <pc:chgData name="Ian Ma" userId="S::ian.ma@ba.com::040dbc55-79cb-41a3-ad64-16484e61cc10" providerId="AD" clId="Web-{E48C92D1-3972-64A3-3E7A-9C6154163F46}" dt="2023-11-08T11:42:37.296" v="555"/>
        <pc:sldMkLst>
          <pc:docMk/>
          <pc:sldMk cId="1734601474" sldId="361"/>
        </pc:sldMkLst>
      </pc:sldChg>
      <pc:sldChg chg="modSp add del mod modClrScheme chgLayout">
        <pc:chgData name="Ian Ma" userId="S::ian.ma@ba.com::040dbc55-79cb-41a3-ad64-16484e61cc10" providerId="AD" clId="Web-{E48C92D1-3972-64A3-3E7A-9C6154163F46}" dt="2023-11-08T11:42:37.312" v="556"/>
        <pc:sldMkLst>
          <pc:docMk/>
          <pc:sldMk cId="2097779950" sldId="362"/>
        </pc:sldMkLst>
        <pc:spChg chg="mod ord">
          <ac:chgData name="Ian Ma" userId="S::ian.ma@ba.com::040dbc55-79cb-41a3-ad64-16484e61cc10" providerId="AD" clId="Web-{E48C92D1-3972-64A3-3E7A-9C6154163F46}" dt="2023-11-08T11:36:38.521" v="273"/>
          <ac:spMkLst>
            <pc:docMk/>
            <pc:sldMk cId="2097779950" sldId="362"/>
            <ac:spMk id="3" creationId="{73691022-D419-8B46-2C00-67A0A4AAAFAE}"/>
          </ac:spMkLst>
        </pc:spChg>
        <pc:spChg chg="mod ord">
          <ac:chgData name="Ian Ma" userId="S::ian.ma@ba.com::040dbc55-79cb-41a3-ad64-16484e61cc10" providerId="AD" clId="Web-{E48C92D1-3972-64A3-3E7A-9C6154163F46}" dt="2023-11-08T11:36:38.521" v="273"/>
          <ac:spMkLst>
            <pc:docMk/>
            <pc:sldMk cId="2097779950" sldId="362"/>
            <ac:spMk id="4" creationId="{B70110E1-4D93-13D2-DD8F-2B5464307052}"/>
          </ac:spMkLst>
        </pc:spChg>
        <pc:spChg chg="mod ord">
          <ac:chgData name="Ian Ma" userId="S::ian.ma@ba.com::040dbc55-79cb-41a3-ad64-16484e61cc10" providerId="AD" clId="Web-{E48C92D1-3972-64A3-3E7A-9C6154163F46}" dt="2023-11-08T11:36:38.521" v="273"/>
          <ac:spMkLst>
            <pc:docMk/>
            <pc:sldMk cId="2097779950" sldId="362"/>
            <ac:spMk id="7" creationId="{6B1FA77B-5830-27BB-7D31-9DA019A2B66E}"/>
          </ac:spMkLst>
        </pc:spChg>
        <pc:spChg chg="mod ord">
          <ac:chgData name="Ian Ma" userId="S::ian.ma@ba.com::040dbc55-79cb-41a3-ad64-16484e61cc10" providerId="AD" clId="Web-{E48C92D1-3972-64A3-3E7A-9C6154163F46}" dt="2023-11-08T11:36:38.521" v="273"/>
          <ac:spMkLst>
            <pc:docMk/>
            <pc:sldMk cId="2097779950" sldId="362"/>
            <ac:spMk id="8" creationId="{BF40A3BB-873C-9D13-FE74-9EB5DD2DC76B}"/>
          </ac:spMkLst>
        </pc:spChg>
        <pc:spChg chg="mod ord">
          <ac:chgData name="Ian Ma" userId="S::ian.ma@ba.com::040dbc55-79cb-41a3-ad64-16484e61cc10" providerId="AD" clId="Web-{E48C92D1-3972-64A3-3E7A-9C6154163F46}" dt="2023-11-08T11:36:38.521" v="273"/>
          <ac:spMkLst>
            <pc:docMk/>
            <pc:sldMk cId="2097779950" sldId="362"/>
            <ac:spMk id="10" creationId="{285DE5AE-B88E-C8F6-23EE-066641772EDA}"/>
          </ac:spMkLst>
        </pc:spChg>
      </pc:sldChg>
      <pc:sldChg chg="del">
        <pc:chgData name="Ian Ma" userId="S::ian.ma@ba.com::040dbc55-79cb-41a3-ad64-16484e61cc10" providerId="AD" clId="Web-{E48C92D1-3972-64A3-3E7A-9C6154163F46}" dt="2023-11-08T11:33:51.673" v="262"/>
        <pc:sldMkLst>
          <pc:docMk/>
          <pc:sldMk cId="4265139455" sldId="363"/>
        </pc:sldMkLst>
      </pc:sldChg>
      <pc:sldChg chg="modSp ord modNotes">
        <pc:chgData name="Ian Ma" userId="S::ian.ma@ba.com::040dbc55-79cb-41a3-ad64-16484e61cc10" providerId="AD" clId="Web-{E48C92D1-3972-64A3-3E7A-9C6154163F46}" dt="2023-11-08T13:07:09.357" v="1126"/>
        <pc:sldMkLst>
          <pc:docMk/>
          <pc:sldMk cId="4000309285" sldId="365"/>
        </pc:sldMkLst>
        <pc:spChg chg="mod">
          <ac:chgData name="Ian Ma" userId="S::ian.ma@ba.com::040dbc55-79cb-41a3-ad64-16484e61cc10" providerId="AD" clId="Web-{E48C92D1-3972-64A3-3E7A-9C6154163F46}" dt="2023-11-08T11:15:55.708" v="37" actId="20577"/>
          <ac:spMkLst>
            <pc:docMk/>
            <pc:sldMk cId="4000309285" sldId="365"/>
            <ac:spMk id="6" creationId="{2D32104E-A24A-D287-779F-0384931029CC}"/>
          </ac:spMkLst>
        </pc:spChg>
      </pc:sldChg>
      <pc:sldChg chg="addSp delSp modSp mod modClrScheme chgLayout modNotes">
        <pc:chgData name="Ian Ma" userId="S::ian.ma@ba.com::040dbc55-79cb-41a3-ad64-16484e61cc10" providerId="AD" clId="Web-{E48C92D1-3972-64A3-3E7A-9C6154163F46}" dt="2023-11-08T11:55:07.862" v="725"/>
        <pc:sldMkLst>
          <pc:docMk/>
          <pc:sldMk cId="2394982353" sldId="366"/>
        </pc:sldMkLst>
        <pc:spChg chg="mod ord">
          <ac:chgData name="Ian Ma" userId="S::ian.ma@ba.com::040dbc55-79cb-41a3-ad64-16484e61cc10" providerId="AD" clId="Web-{E48C92D1-3972-64A3-3E7A-9C6154163F46}" dt="2023-11-08T11:33:17.360" v="260" actId="20577"/>
          <ac:spMkLst>
            <pc:docMk/>
            <pc:sldMk cId="2394982353" sldId="366"/>
            <ac:spMk id="2" creationId="{0959F975-21BC-F0F3-371E-3EDE523C2F77}"/>
          </ac:spMkLst>
        </pc:spChg>
        <pc:spChg chg="mod ord">
          <ac:chgData name="Ian Ma" userId="S::ian.ma@ba.com::040dbc55-79cb-41a3-ad64-16484e61cc10" providerId="AD" clId="Web-{E48C92D1-3972-64A3-3E7A-9C6154163F46}" dt="2023-11-08T11:30:01.386" v="140" actId="20577"/>
          <ac:spMkLst>
            <pc:docMk/>
            <pc:sldMk cId="2394982353" sldId="366"/>
            <ac:spMk id="3" creationId="{947F78C5-9F29-040A-3CE6-31659B571E19}"/>
          </ac:spMkLst>
        </pc:spChg>
        <pc:spChg chg="add del mod ord">
          <ac:chgData name="Ian Ma" userId="S::ian.ma@ba.com::040dbc55-79cb-41a3-ad64-16484e61cc10" providerId="AD" clId="Web-{E48C92D1-3972-64A3-3E7A-9C6154163F46}" dt="2023-11-08T11:07:36.008" v="5"/>
          <ac:spMkLst>
            <pc:docMk/>
            <pc:sldMk cId="2394982353" sldId="366"/>
            <ac:spMk id="4" creationId="{65AEA313-4949-2B19-9F31-C72FC7CD7B67}"/>
          </ac:spMkLst>
        </pc:spChg>
        <pc:picChg chg="add mod">
          <ac:chgData name="Ian Ma" userId="S::ian.ma@ba.com::040dbc55-79cb-41a3-ad64-16484e61cc10" providerId="AD" clId="Web-{E48C92D1-3972-64A3-3E7A-9C6154163F46}" dt="2023-11-08T11:10:10.418" v="20" actId="1076"/>
          <ac:picMkLst>
            <pc:docMk/>
            <pc:sldMk cId="2394982353" sldId="366"/>
            <ac:picMk id="6" creationId="{81C62EB6-4A3A-06EA-BC0C-3A44FB73D081}"/>
          </ac:picMkLst>
        </pc:picChg>
        <pc:picChg chg="add mod">
          <ac:chgData name="Ian Ma" userId="S::ian.ma@ba.com::040dbc55-79cb-41a3-ad64-16484e61cc10" providerId="AD" clId="Web-{E48C92D1-3972-64A3-3E7A-9C6154163F46}" dt="2023-11-08T11:10:10.449" v="21" actId="1076"/>
          <ac:picMkLst>
            <pc:docMk/>
            <pc:sldMk cId="2394982353" sldId="366"/>
            <ac:picMk id="8" creationId="{349E6AEF-C048-985B-1488-C90990DCEE1A}"/>
          </ac:picMkLst>
        </pc:picChg>
      </pc:sldChg>
      <pc:sldChg chg="addSp modSp new mod ord modClrScheme chgLayout">
        <pc:chgData name="Ian Ma" userId="S::ian.ma@ba.com::040dbc55-79cb-41a3-ad64-16484e61cc10" providerId="AD" clId="Web-{E48C92D1-3972-64A3-3E7A-9C6154163F46}" dt="2023-11-08T11:47:31.367" v="683" actId="20577"/>
        <pc:sldMkLst>
          <pc:docMk/>
          <pc:sldMk cId="4277432714" sldId="367"/>
        </pc:sldMkLst>
        <pc:spChg chg="mod ord">
          <ac:chgData name="Ian Ma" userId="S::ian.ma@ba.com::040dbc55-79cb-41a3-ad64-16484e61cc10" providerId="AD" clId="Web-{E48C92D1-3972-64A3-3E7A-9C6154163F46}" dt="2023-11-08T11:47:31.367" v="683" actId="20577"/>
          <ac:spMkLst>
            <pc:docMk/>
            <pc:sldMk cId="4277432714" sldId="367"/>
            <ac:spMk id="2" creationId="{89831E09-B845-10DA-C8DD-D2022A373DC4}"/>
          </ac:spMkLst>
        </pc:spChg>
        <pc:spChg chg="mod ord">
          <ac:chgData name="Ian Ma" userId="S::ian.ma@ba.com::040dbc55-79cb-41a3-ad64-16484e61cc10" providerId="AD" clId="Web-{E48C92D1-3972-64A3-3E7A-9C6154163F46}" dt="2023-11-08T11:44:07.501" v="576" actId="20577"/>
          <ac:spMkLst>
            <pc:docMk/>
            <pc:sldMk cId="4277432714" sldId="367"/>
            <ac:spMk id="3" creationId="{7C56B330-EEB5-9B56-76DB-779A5397ECCA}"/>
          </ac:spMkLst>
        </pc:spChg>
        <pc:spChg chg="mod ord">
          <ac:chgData name="Ian Ma" userId="S::ian.ma@ba.com::040dbc55-79cb-41a3-ad64-16484e61cc10" providerId="AD" clId="Web-{E48C92D1-3972-64A3-3E7A-9C6154163F46}" dt="2023-11-08T11:39:12.416" v="362"/>
          <ac:spMkLst>
            <pc:docMk/>
            <pc:sldMk cId="4277432714" sldId="367"/>
            <ac:spMk id="4" creationId="{8BFE73F3-0D78-6D95-0230-12217F89A777}"/>
          </ac:spMkLst>
        </pc:spChg>
        <pc:spChg chg="add mod ord">
          <ac:chgData name="Ian Ma" userId="S::ian.ma@ba.com::040dbc55-79cb-41a3-ad64-16484e61cc10" providerId="AD" clId="Web-{E48C92D1-3972-64A3-3E7A-9C6154163F46}" dt="2023-11-08T11:39:17.885" v="372" actId="20577"/>
          <ac:spMkLst>
            <pc:docMk/>
            <pc:sldMk cId="4277432714" sldId="367"/>
            <ac:spMk id="5" creationId="{B23B7DA2-DE60-213C-D098-B173514E6B41}"/>
          </ac:spMkLst>
        </pc:spChg>
        <pc:spChg chg="add mod ord">
          <ac:chgData name="Ian Ma" userId="S::ian.ma@ba.com::040dbc55-79cb-41a3-ad64-16484e61cc10" providerId="AD" clId="Web-{E48C92D1-3972-64A3-3E7A-9C6154163F46}" dt="2023-11-08T11:41:09.044" v="477" actId="20577"/>
          <ac:spMkLst>
            <pc:docMk/>
            <pc:sldMk cId="4277432714" sldId="367"/>
            <ac:spMk id="6" creationId="{65659FA7-55DE-E208-6AE6-FD1FAF4A6BF8}"/>
          </ac:spMkLst>
        </pc:spChg>
        <pc:spChg chg="add mod ord">
          <ac:chgData name="Ian Ma" userId="S::ian.ma@ba.com::040dbc55-79cb-41a3-ad64-16484e61cc10" providerId="AD" clId="Web-{E48C92D1-3972-64A3-3E7A-9C6154163F46}" dt="2023-11-08T11:39:12.416" v="362"/>
          <ac:spMkLst>
            <pc:docMk/>
            <pc:sldMk cId="4277432714" sldId="367"/>
            <ac:spMk id="7" creationId="{D18EE4C7-CBE8-895A-9CFF-49E5AFA57EF8}"/>
          </ac:spMkLst>
        </pc:spChg>
      </pc:sldChg>
    </pc:docChg>
  </pc:docChgLst>
  <pc:docChgLst>
    <pc:chgData name="George Daish" userId="S::george.daish@ba.com::0bdcf7b5-cff9-4b38-bda9-e3bf90847f0a" providerId="AD" clId="Web-{102A782B-C894-9DF9-3FF7-6210423E09D6}"/>
    <pc:docChg chg="addSld delSld modSld">
      <pc:chgData name="George Daish" userId="S::george.daish@ba.com::0bdcf7b5-cff9-4b38-bda9-e3bf90847f0a" providerId="AD" clId="Web-{102A782B-C894-9DF9-3FF7-6210423E09D6}" dt="2023-11-03T15:08:19.333" v="217" actId="20577"/>
      <pc:docMkLst>
        <pc:docMk/>
      </pc:docMkLst>
      <pc:sldChg chg="modSp new">
        <pc:chgData name="George Daish" userId="S::george.daish@ba.com::0bdcf7b5-cff9-4b38-bda9-e3bf90847f0a" providerId="AD" clId="Web-{102A782B-C894-9DF9-3FF7-6210423E09D6}" dt="2023-11-03T14:39:36.824" v="11" actId="20577"/>
        <pc:sldMkLst>
          <pc:docMk/>
          <pc:sldMk cId="4002206678" sldId="337"/>
        </pc:sldMkLst>
        <pc:spChg chg="mod">
          <ac:chgData name="George Daish" userId="S::george.daish@ba.com::0bdcf7b5-cff9-4b38-bda9-e3bf90847f0a" providerId="AD" clId="Web-{102A782B-C894-9DF9-3FF7-6210423E09D6}" dt="2023-11-03T14:39:36.824" v="11" actId="20577"/>
          <ac:spMkLst>
            <pc:docMk/>
            <pc:sldMk cId="4002206678" sldId="337"/>
            <ac:spMk id="2" creationId="{796505FB-8EB9-E8AE-CB9E-6A1C1D1E99ED}"/>
          </ac:spMkLst>
        </pc:spChg>
      </pc:sldChg>
      <pc:sldChg chg="new del">
        <pc:chgData name="George Daish" userId="S::george.daish@ba.com::0bdcf7b5-cff9-4b38-bda9-e3bf90847f0a" providerId="AD" clId="Web-{102A782B-C894-9DF9-3FF7-6210423E09D6}" dt="2023-11-03T14:43:33.595" v="21"/>
        <pc:sldMkLst>
          <pc:docMk/>
          <pc:sldMk cId="125891048" sldId="338"/>
        </pc:sldMkLst>
      </pc:sldChg>
      <pc:sldChg chg="modSp new">
        <pc:chgData name="George Daish" userId="S::george.daish@ba.com::0bdcf7b5-cff9-4b38-bda9-e3bf90847f0a" providerId="AD" clId="Web-{102A782B-C894-9DF9-3FF7-6210423E09D6}" dt="2023-11-03T14:50:49.871" v="52" actId="20577"/>
        <pc:sldMkLst>
          <pc:docMk/>
          <pc:sldMk cId="1075245968" sldId="338"/>
        </pc:sldMkLst>
        <pc:spChg chg="mod">
          <ac:chgData name="George Daish" userId="S::george.daish@ba.com::0bdcf7b5-cff9-4b38-bda9-e3bf90847f0a" providerId="AD" clId="Web-{102A782B-C894-9DF9-3FF7-6210423E09D6}" dt="2023-11-03T14:50:49.871" v="52" actId="20577"/>
          <ac:spMkLst>
            <pc:docMk/>
            <pc:sldMk cId="1075245968" sldId="338"/>
            <ac:spMk id="3" creationId="{461F27AE-7ED9-52F0-16B7-BE62F33F2F5D}"/>
          </ac:spMkLst>
        </pc:spChg>
      </pc:sldChg>
      <pc:sldChg chg="modSp new del">
        <pc:chgData name="George Daish" userId="S::george.daish@ba.com::0bdcf7b5-cff9-4b38-bda9-e3bf90847f0a" providerId="AD" clId="Web-{102A782B-C894-9DF9-3FF7-6210423E09D6}" dt="2023-11-03T14:42:30.969" v="20"/>
        <pc:sldMkLst>
          <pc:docMk/>
          <pc:sldMk cId="339101502" sldId="339"/>
        </pc:sldMkLst>
        <pc:spChg chg="mod">
          <ac:chgData name="George Daish" userId="S::george.daish@ba.com::0bdcf7b5-cff9-4b38-bda9-e3bf90847f0a" providerId="AD" clId="Web-{102A782B-C894-9DF9-3FF7-6210423E09D6}" dt="2023-11-03T14:42:08.437" v="16" actId="20577"/>
          <ac:spMkLst>
            <pc:docMk/>
            <pc:sldMk cId="339101502" sldId="339"/>
            <ac:spMk id="2" creationId="{76633E4C-F786-8BB0-2A36-BC3ABB605327}"/>
          </ac:spMkLst>
        </pc:spChg>
        <pc:spChg chg="mod">
          <ac:chgData name="George Daish" userId="S::george.daish@ba.com::0bdcf7b5-cff9-4b38-bda9-e3bf90847f0a" providerId="AD" clId="Web-{102A782B-C894-9DF9-3FF7-6210423E09D6}" dt="2023-11-03T14:42:10.124" v="17" actId="20577"/>
          <ac:spMkLst>
            <pc:docMk/>
            <pc:sldMk cId="339101502" sldId="339"/>
            <ac:spMk id="3" creationId="{C1E48E7C-A22C-A846-6908-2F66D09E9BE9}"/>
          </ac:spMkLst>
        </pc:spChg>
        <pc:spChg chg="mod">
          <ac:chgData name="George Daish" userId="S::george.daish@ba.com::0bdcf7b5-cff9-4b38-bda9-e3bf90847f0a" providerId="AD" clId="Web-{102A782B-C894-9DF9-3FF7-6210423E09D6}" dt="2023-11-03T14:42:12.202" v="19" actId="20577"/>
          <ac:spMkLst>
            <pc:docMk/>
            <pc:sldMk cId="339101502" sldId="339"/>
            <ac:spMk id="4" creationId="{827F3588-D533-8B9D-D0BF-362200A37F4A}"/>
          </ac:spMkLst>
        </pc:spChg>
        <pc:spChg chg="mod">
          <ac:chgData name="George Daish" userId="S::george.daish@ba.com::0bdcf7b5-cff9-4b38-bda9-e3bf90847f0a" providerId="AD" clId="Web-{102A782B-C894-9DF9-3FF7-6210423E09D6}" dt="2023-11-03T14:42:11.390" v="18" actId="20577"/>
          <ac:spMkLst>
            <pc:docMk/>
            <pc:sldMk cId="339101502" sldId="339"/>
            <ac:spMk id="5" creationId="{8E441083-036A-736C-BD30-2D7362411D57}"/>
          </ac:spMkLst>
        </pc:spChg>
      </pc:sldChg>
      <pc:sldChg chg="modSp new">
        <pc:chgData name="George Daish" userId="S::george.daish@ba.com::0bdcf7b5-cff9-4b38-bda9-e3bf90847f0a" providerId="AD" clId="Web-{102A782B-C894-9DF9-3FF7-6210423E09D6}" dt="2023-11-03T15:06:44.331" v="195" actId="20577"/>
        <pc:sldMkLst>
          <pc:docMk/>
          <pc:sldMk cId="1324413061" sldId="339"/>
        </pc:sldMkLst>
        <pc:spChg chg="mod">
          <ac:chgData name="George Daish" userId="S::george.daish@ba.com::0bdcf7b5-cff9-4b38-bda9-e3bf90847f0a" providerId="AD" clId="Web-{102A782B-C894-9DF9-3FF7-6210423E09D6}" dt="2023-11-03T14:59:26.008" v="56" actId="20577"/>
          <ac:spMkLst>
            <pc:docMk/>
            <pc:sldMk cId="1324413061" sldId="339"/>
            <ac:spMk id="2" creationId="{44E1EDBF-21DA-C2D7-9008-9D798091C74F}"/>
          </ac:spMkLst>
        </pc:spChg>
        <pc:spChg chg="mod">
          <ac:chgData name="George Daish" userId="S::george.daish@ba.com::0bdcf7b5-cff9-4b38-bda9-e3bf90847f0a" providerId="AD" clId="Web-{102A782B-C894-9DF9-3FF7-6210423E09D6}" dt="2023-11-03T15:01:07.901" v="108" actId="20577"/>
          <ac:spMkLst>
            <pc:docMk/>
            <pc:sldMk cId="1324413061" sldId="339"/>
            <ac:spMk id="3" creationId="{32584078-6F99-02B2-FB74-3A7B2BB247FE}"/>
          </ac:spMkLst>
        </pc:spChg>
        <pc:spChg chg="mod">
          <ac:chgData name="George Daish" userId="S::george.daish@ba.com::0bdcf7b5-cff9-4b38-bda9-e3bf90847f0a" providerId="AD" clId="Web-{102A782B-C894-9DF9-3FF7-6210423E09D6}" dt="2023-11-03T15:06:44.331" v="195" actId="20577"/>
          <ac:spMkLst>
            <pc:docMk/>
            <pc:sldMk cId="1324413061" sldId="339"/>
            <ac:spMk id="4" creationId="{FE34611C-EF5D-557B-C728-0502C92483D0}"/>
          </ac:spMkLst>
        </pc:spChg>
        <pc:spChg chg="mod">
          <ac:chgData name="George Daish" userId="S::george.daish@ba.com::0bdcf7b5-cff9-4b38-bda9-e3bf90847f0a" providerId="AD" clId="Web-{102A782B-C894-9DF9-3FF7-6210423E09D6}" dt="2023-11-03T14:59:40.305" v="72" actId="20577"/>
          <ac:spMkLst>
            <pc:docMk/>
            <pc:sldMk cId="1324413061" sldId="339"/>
            <ac:spMk id="5" creationId="{09E37EBE-7A03-560A-54B9-ABEF6D837412}"/>
          </ac:spMkLst>
        </pc:spChg>
        <pc:spChg chg="mod">
          <ac:chgData name="George Daish" userId="S::george.daish@ba.com::0bdcf7b5-cff9-4b38-bda9-e3bf90847f0a" providerId="AD" clId="Web-{102A782B-C894-9DF9-3FF7-6210423E09D6}" dt="2023-11-03T14:59:33.477" v="62" actId="20577"/>
          <ac:spMkLst>
            <pc:docMk/>
            <pc:sldMk cId="1324413061" sldId="339"/>
            <ac:spMk id="6" creationId="{75BBF4DA-41E3-F3F0-1985-1CE344013259}"/>
          </ac:spMkLst>
        </pc:spChg>
        <pc:spChg chg="mod">
          <ac:chgData name="George Daish" userId="S::george.daish@ba.com::0bdcf7b5-cff9-4b38-bda9-e3bf90847f0a" providerId="AD" clId="Web-{102A782B-C894-9DF9-3FF7-6210423E09D6}" dt="2023-11-03T15:02:19.434" v="143" actId="20577"/>
          <ac:spMkLst>
            <pc:docMk/>
            <pc:sldMk cId="1324413061" sldId="339"/>
            <ac:spMk id="7" creationId="{350CFF94-8E59-A5F0-EDCE-30D845C248B0}"/>
          </ac:spMkLst>
        </pc:spChg>
      </pc:sldChg>
      <pc:sldChg chg="new del">
        <pc:chgData name="George Daish" userId="S::george.daish@ba.com::0bdcf7b5-cff9-4b38-bda9-e3bf90847f0a" providerId="AD" clId="Web-{102A782B-C894-9DF9-3FF7-6210423E09D6}" dt="2023-11-03T14:40:30.684" v="14"/>
        <pc:sldMkLst>
          <pc:docMk/>
          <pc:sldMk cId="3749715365" sldId="339"/>
        </pc:sldMkLst>
      </pc:sldChg>
      <pc:sldChg chg="modSp new">
        <pc:chgData name="George Daish" userId="S::george.daish@ba.com::0bdcf7b5-cff9-4b38-bda9-e3bf90847f0a" providerId="AD" clId="Web-{102A782B-C894-9DF9-3FF7-6210423E09D6}" dt="2023-11-03T15:08:19.333" v="217" actId="20577"/>
        <pc:sldMkLst>
          <pc:docMk/>
          <pc:sldMk cId="3985118271" sldId="340"/>
        </pc:sldMkLst>
        <pc:spChg chg="mod">
          <ac:chgData name="George Daish" userId="S::george.daish@ba.com::0bdcf7b5-cff9-4b38-bda9-e3bf90847f0a" providerId="AD" clId="Web-{102A782B-C894-9DF9-3FF7-6210423E09D6}" dt="2023-11-03T15:08:19.333" v="217" actId="20577"/>
          <ac:spMkLst>
            <pc:docMk/>
            <pc:sldMk cId="3985118271" sldId="340"/>
            <ac:spMk id="4" creationId="{2EDF6717-D97B-5A4D-EFCE-EE71EF81F7D0}"/>
          </ac:spMkLst>
        </pc:spChg>
      </pc:sldChg>
    </pc:docChg>
  </pc:docChgLst>
  <pc:docChgLst>
    <pc:chgData name="Ian Ma" userId="S::ian.ma@ba.com::040dbc55-79cb-41a3-ad64-16484e61cc10" providerId="AD" clId="Web-{71B0B20B-872A-70DD-0D2A-58FAA576814A}"/>
    <pc:docChg chg="modSld sldOrd">
      <pc:chgData name="Ian Ma" userId="S::ian.ma@ba.com::040dbc55-79cb-41a3-ad64-16484e61cc10" providerId="AD" clId="Web-{71B0B20B-872A-70DD-0D2A-58FAA576814A}" dt="2023-11-07T11:20:45.241" v="465" actId="20577"/>
      <pc:docMkLst>
        <pc:docMk/>
      </pc:docMkLst>
      <pc:sldChg chg="modSp">
        <pc:chgData name="Ian Ma" userId="S::ian.ma@ba.com::040dbc55-79cb-41a3-ad64-16484e61cc10" providerId="AD" clId="Web-{71B0B20B-872A-70DD-0D2A-58FAA576814A}" dt="2023-11-07T10:53:09.592" v="333" actId="20577"/>
        <pc:sldMkLst>
          <pc:docMk/>
          <pc:sldMk cId="643536664" sldId="342"/>
        </pc:sldMkLst>
        <pc:spChg chg="mod">
          <ac:chgData name="Ian Ma" userId="S::ian.ma@ba.com::040dbc55-79cb-41a3-ad64-16484e61cc10" providerId="AD" clId="Web-{71B0B20B-872A-70DD-0D2A-58FAA576814A}" dt="2023-11-07T10:53:09.592" v="333" actId="20577"/>
          <ac:spMkLst>
            <pc:docMk/>
            <pc:sldMk cId="643536664" sldId="342"/>
            <ac:spMk id="5" creationId="{AD70B319-9E45-4D59-08BD-0BEFCF1D85A0}"/>
          </ac:spMkLst>
        </pc:spChg>
      </pc:sldChg>
      <pc:sldChg chg="ord">
        <pc:chgData name="Ian Ma" userId="S::ian.ma@ba.com::040dbc55-79cb-41a3-ad64-16484e61cc10" providerId="AD" clId="Web-{71B0B20B-872A-70DD-0D2A-58FAA576814A}" dt="2023-11-07T10:49:39.726" v="280"/>
        <pc:sldMkLst>
          <pc:docMk/>
          <pc:sldMk cId="1470884166" sldId="348"/>
        </pc:sldMkLst>
      </pc:sldChg>
      <pc:sldChg chg="modSp">
        <pc:chgData name="Ian Ma" userId="S::ian.ma@ba.com::040dbc55-79cb-41a3-ad64-16484e61cc10" providerId="AD" clId="Web-{71B0B20B-872A-70DD-0D2A-58FAA576814A}" dt="2023-11-07T11:20:45.241" v="465" actId="20577"/>
        <pc:sldMkLst>
          <pc:docMk/>
          <pc:sldMk cId="1127646338" sldId="350"/>
        </pc:sldMkLst>
        <pc:spChg chg="mod">
          <ac:chgData name="Ian Ma" userId="S::ian.ma@ba.com::040dbc55-79cb-41a3-ad64-16484e61cc10" providerId="AD" clId="Web-{71B0B20B-872A-70DD-0D2A-58FAA576814A}" dt="2023-11-07T11:20:45.241" v="465" actId="20577"/>
          <ac:spMkLst>
            <pc:docMk/>
            <pc:sldMk cId="1127646338" sldId="350"/>
            <ac:spMk id="2" creationId="{10BD3CA5-63B5-0D6E-4F03-D47780DF0096}"/>
          </ac:spMkLst>
        </pc:spChg>
      </pc:sldChg>
      <pc:sldChg chg="addSp modSp mod modClrScheme chgLayout">
        <pc:chgData name="Ian Ma" userId="S::ian.ma@ba.com::040dbc55-79cb-41a3-ad64-16484e61cc10" providerId="AD" clId="Web-{71B0B20B-872A-70DD-0D2A-58FAA576814A}" dt="2023-11-07T10:47:05.095" v="200" actId="20577"/>
        <pc:sldMkLst>
          <pc:docMk/>
          <pc:sldMk cId="2741567555" sldId="353"/>
        </pc:sldMkLst>
        <pc:spChg chg="mod ord">
          <ac:chgData name="Ian Ma" userId="S::ian.ma@ba.com::040dbc55-79cb-41a3-ad64-16484e61cc10" providerId="AD" clId="Web-{71B0B20B-872A-70DD-0D2A-58FAA576814A}" dt="2023-11-07T10:43:16.947" v="0"/>
          <ac:spMkLst>
            <pc:docMk/>
            <pc:sldMk cId="2741567555" sldId="353"/>
            <ac:spMk id="2" creationId="{67319747-7DAA-CAD1-6B1B-2A0B8EF75625}"/>
          </ac:spMkLst>
        </pc:spChg>
        <pc:spChg chg="add mod ord">
          <ac:chgData name="Ian Ma" userId="S::ian.ma@ba.com::040dbc55-79cb-41a3-ad64-16484e61cc10" providerId="AD" clId="Web-{71B0B20B-872A-70DD-0D2A-58FAA576814A}" dt="2023-11-07T10:47:05.095" v="200" actId="20577"/>
          <ac:spMkLst>
            <pc:docMk/>
            <pc:sldMk cId="2741567555" sldId="353"/>
            <ac:spMk id="3" creationId="{F8D4DA9C-A75A-8BA1-7D52-950F7DD3AE4F}"/>
          </ac:spMkLst>
        </pc:spChg>
      </pc:sldChg>
      <pc:sldChg chg="addSp modSp mod modClrScheme chgLayout">
        <pc:chgData name="Ian Ma" userId="S::ian.ma@ba.com::040dbc55-79cb-41a3-ad64-16484e61cc10" providerId="AD" clId="Web-{71B0B20B-872A-70DD-0D2A-58FAA576814A}" dt="2023-11-07T11:13:29.710" v="464" actId="20577"/>
        <pc:sldMkLst>
          <pc:docMk/>
          <pc:sldMk cId="125496638" sldId="354"/>
        </pc:sldMkLst>
        <pc:spChg chg="mod ord">
          <ac:chgData name="Ian Ma" userId="S::ian.ma@ba.com::040dbc55-79cb-41a3-ad64-16484e61cc10" providerId="AD" clId="Web-{71B0B20B-872A-70DD-0D2A-58FAA576814A}" dt="2023-11-07T11:10:31.954" v="334"/>
          <ac:spMkLst>
            <pc:docMk/>
            <pc:sldMk cId="125496638" sldId="354"/>
            <ac:spMk id="2" creationId="{67319747-7DAA-CAD1-6B1B-2A0B8EF75625}"/>
          </ac:spMkLst>
        </pc:spChg>
        <pc:spChg chg="add mod ord">
          <ac:chgData name="Ian Ma" userId="S::ian.ma@ba.com::040dbc55-79cb-41a3-ad64-16484e61cc10" providerId="AD" clId="Web-{71B0B20B-872A-70DD-0D2A-58FAA576814A}" dt="2023-11-07T11:13:29.710" v="464" actId="20577"/>
          <ac:spMkLst>
            <pc:docMk/>
            <pc:sldMk cId="125496638" sldId="354"/>
            <ac:spMk id="3" creationId="{5DBCAE0B-1ED0-9C31-E18B-C57813BCF0CA}"/>
          </ac:spMkLst>
        </pc:spChg>
      </pc:sldChg>
      <pc:sldChg chg="modSp">
        <pc:chgData name="Ian Ma" userId="S::ian.ma@ba.com::040dbc55-79cb-41a3-ad64-16484e61cc10" providerId="AD" clId="Web-{71B0B20B-872A-70DD-0D2A-58FAA576814A}" dt="2023-11-07T10:49:15.787" v="279" actId="20577"/>
        <pc:sldMkLst>
          <pc:docMk/>
          <pc:sldMk cId="3132676434" sldId="355"/>
        </pc:sldMkLst>
        <pc:spChg chg="mod">
          <ac:chgData name="Ian Ma" userId="S::ian.ma@ba.com::040dbc55-79cb-41a3-ad64-16484e61cc10" providerId="AD" clId="Web-{71B0B20B-872A-70DD-0D2A-58FAA576814A}" dt="2023-11-07T10:49:15.787" v="279" actId="20577"/>
          <ac:spMkLst>
            <pc:docMk/>
            <pc:sldMk cId="3132676434" sldId="355"/>
            <ac:spMk id="3" creationId="{4014D9D7-9793-03AC-E23D-56E860C20465}"/>
          </ac:spMkLst>
        </pc:spChg>
      </pc:sldChg>
    </pc:docChg>
  </pc:docChgLst>
  <pc:docChgLst>
    <pc:chgData name="George Daish" userId="S::george.daish@ba.com::0bdcf7b5-cff9-4b38-bda9-e3bf90847f0a" providerId="AD" clId="Web-{EAAEA618-ED58-E30D-87D2-925837228346}"/>
    <pc:docChg chg="mod">
      <pc:chgData name="George Daish" userId="S::george.daish@ba.com::0bdcf7b5-cff9-4b38-bda9-e3bf90847f0a" providerId="AD" clId="Web-{EAAEA618-ED58-E30D-87D2-925837228346}" dt="2023-11-07T12:09:41.462" v="1"/>
      <pc:docMkLst>
        <pc:docMk/>
      </pc:docMkLst>
      <pc:sldChg chg="modCm">
        <pc:chgData name="George Daish" userId="S::george.daish@ba.com::0bdcf7b5-cff9-4b38-bda9-e3bf90847f0a" providerId="AD" clId="Web-{EAAEA618-ED58-E30D-87D2-925837228346}" dt="2023-11-07T12:09:41.462" v="1"/>
        <pc:sldMkLst>
          <pc:docMk/>
          <pc:sldMk cId="1470884166" sldId="348"/>
        </pc:sldMkLst>
        <pc:extLst>
          <p:ext xmlns:p="http://schemas.openxmlformats.org/presentationml/2006/main" uri="{D6D511B9-2390-475A-947B-AFAB55BFBCF1}">
            <pc226:cmChg xmlns:pc226="http://schemas.microsoft.com/office/powerpoint/2022/06/main/command" chg="">
              <pc226:chgData name="George Daish" userId="S::george.daish@ba.com::0bdcf7b5-cff9-4b38-bda9-e3bf90847f0a" providerId="AD" clId="Web-{EAAEA618-ED58-E30D-87D2-925837228346}" dt="2023-11-07T12:09:41.462" v="1"/>
              <pc2:cmMkLst xmlns:pc2="http://schemas.microsoft.com/office/powerpoint/2019/9/main/command">
                <pc:docMk/>
                <pc:sldMk cId="1470884166" sldId="348"/>
                <pc2:cmMk id="{476B7498-0B4D-44D5-A291-6CC04E99E44B}"/>
              </pc2:cmMkLst>
              <pc226:cmRplyChg chg="add">
                <pc226:chgData name="George Daish" userId="S::george.daish@ba.com::0bdcf7b5-cff9-4b38-bda9-e3bf90847f0a" providerId="AD" clId="Web-{EAAEA618-ED58-E30D-87D2-925837228346}" dt="2023-11-07T12:09:41.462" v="1"/>
                <pc2:cmRplyMkLst xmlns:pc2="http://schemas.microsoft.com/office/powerpoint/2019/9/main/command">
                  <pc:docMk/>
                  <pc:sldMk cId="1470884166" sldId="348"/>
                  <pc2:cmMk id="{476B7498-0B4D-44D5-A291-6CC04E99E44B}"/>
                  <pc2:cmRplyMk id="{A4D241DA-A65F-4F9E-A3CD-69C3407A3EFA}"/>
                </pc2:cmRplyMkLst>
              </pc226:cmRplyChg>
            </pc226:cmChg>
          </p:ext>
        </pc:ext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CEA33C5-B861-C329-5615-F544EED32B8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B03D7093-A495-DA34-DA89-4F3A3CB9418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A1FD458-00AC-B944-8799-12C5583886D7}" type="datetimeFigureOut">
              <a:rPr lang="en-US" smtClean="0"/>
              <a:t>11/8/2023</a:t>
            </a:fld>
            <a:endParaRPr lang="en-US"/>
          </a:p>
        </p:txBody>
      </p:sp>
      <p:sp>
        <p:nvSpPr>
          <p:cNvPr id="4" name="Footer Placeholder 3">
            <a:extLst>
              <a:ext uri="{FF2B5EF4-FFF2-40B4-BE49-F238E27FC236}">
                <a16:creationId xmlns:a16="http://schemas.microsoft.com/office/drawing/2014/main" id="{D9326356-7A70-7B72-49D7-AE716744CE1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9D034C4-0B32-62C2-36DA-A947B1503F0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E91501E-C7B1-E747-A753-418909804655}" type="slidenum">
              <a:rPr lang="en-US" smtClean="0"/>
              <a:t>‹#›</a:t>
            </a:fld>
            <a:endParaRPr lang="en-US"/>
          </a:p>
        </p:txBody>
      </p:sp>
    </p:spTree>
    <p:extLst>
      <p:ext uri="{BB962C8B-B14F-4D97-AF65-F5344CB8AC3E}">
        <p14:creationId xmlns:p14="http://schemas.microsoft.com/office/powerpoint/2010/main" val="7761220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FDB94F-D498-D447-8277-62E8C47668DE}" type="datetimeFigureOut">
              <a:rPr lang="en-US" smtClean="0"/>
              <a:t>11/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175393-3668-F443-9547-1D78A8564F6A}" type="slidenum">
              <a:rPr lang="en-US" smtClean="0"/>
              <a:t>‹#›</a:t>
            </a:fld>
            <a:endParaRPr lang="en-US"/>
          </a:p>
        </p:txBody>
      </p:sp>
    </p:spTree>
    <p:extLst>
      <p:ext uri="{BB962C8B-B14F-4D97-AF65-F5344CB8AC3E}">
        <p14:creationId xmlns:p14="http://schemas.microsoft.com/office/powerpoint/2010/main" val="10228133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Jamie</a:t>
            </a:r>
          </a:p>
          <a:p>
            <a:endParaRPr lang="en-GB" dirty="0"/>
          </a:p>
          <a:p>
            <a:r>
              <a:rPr lang="en-GB" dirty="0"/>
              <a:t>Each summer season, we operate more than 11 and a half million seats from London Heathrow.</a:t>
            </a:r>
          </a:p>
          <a:p>
            <a:r>
              <a:rPr lang="en-GB" dirty="0"/>
              <a:t>In our peak weeks, over 100,000 passengers are eligible to use our Heathrow lounges.</a:t>
            </a:r>
          </a:p>
          <a:p>
            <a:endParaRPr lang="en-GB" dirty="0"/>
          </a:p>
          <a:p>
            <a:r>
              <a:rPr lang="en-GB" dirty="0"/>
              <a:t>Our lounges form a key part of our Premium Proposition.</a:t>
            </a:r>
          </a:p>
          <a:p>
            <a:r>
              <a:rPr lang="en-GB" dirty="0"/>
              <a:t>Also needed to secure London Leadership. It is one the key attractions of both status and premium cabins.</a:t>
            </a:r>
          </a:p>
          <a:p>
            <a:endParaRPr lang="en-GB" dirty="0"/>
          </a:p>
          <a:p>
            <a:r>
              <a:rPr lang="en-GB" dirty="0"/>
              <a:t>Terminal 3 forms a key part of our Heathrow operation, in 2019 it welcomed 15.5% of LHR pax including both short-haul and long-haul pax.</a:t>
            </a:r>
          </a:p>
        </p:txBody>
      </p:sp>
      <p:sp>
        <p:nvSpPr>
          <p:cNvPr id="4" name="Slide Number Placeholder 3"/>
          <p:cNvSpPr>
            <a:spLocks noGrp="1"/>
          </p:cNvSpPr>
          <p:nvPr>
            <p:ph type="sldNum" sz="quarter" idx="5"/>
          </p:nvPr>
        </p:nvSpPr>
        <p:spPr/>
        <p:txBody>
          <a:bodyPr/>
          <a:lstStyle/>
          <a:p>
            <a:fld id="{C6175393-3668-F443-9547-1D78A8564F6A}" type="slidenum">
              <a:rPr lang="en-US" smtClean="0"/>
              <a:t>1</a:t>
            </a:fld>
            <a:endParaRPr lang="en-US"/>
          </a:p>
        </p:txBody>
      </p:sp>
    </p:spTree>
    <p:extLst>
      <p:ext uri="{BB962C8B-B14F-4D97-AF65-F5344CB8AC3E}">
        <p14:creationId xmlns:p14="http://schemas.microsoft.com/office/powerpoint/2010/main" val="42591631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an</a:t>
            </a:r>
          </a:p>
          <a:p>
            <a:r>
              <a:rPr lang="en-GB">
                <a:cs typeface="Calibri"/>
              </a:rPr>
              <a:t>Here I will explain why are we breaking down different hauls differently</a:t>
            </a:r>
          </a:p>
          <a:p>
            <a:pPr marL="171450" indent="-171450">
              <a:buFont typeface="Arial"/>
              <a:buChar char="•"/>
            </a:pPr>
            <a:r>
              <a:rPr lang="en-GB">
                <a:cs typeface="Calibri"/>
              </a:rPr>
              <a:t>LH:</a:t>
            </a:r>
          </a:p>
          <a:p>
            <a:pPr marL="628650" lvl="1" indent="-171450">
              <a:buFont typeface="Arial"/>
              <a:buChar char="•"/>
            </a:pPr>
            <a:r>
              <a:rPr lang="en-GB">
                <a:cs typeface="Calibri"/>
              </a:rPr>
              <a:t>Significantly small number of flights to these continents</a:t>
            </a:r>
          </a:p>
          <a:p>
            <a:pPr marL="1314450" lvl="2" indent="-171450">
              <a:buFont typeface="Arial"/>
              <a:buChar char="•"/>
            </a:pPr>
            <a:r>
              <a:rPr lang="en-GB">
                <a:cs typeface="Calibri"/>
              </a:rPr>
              <a:t>Too granular if split into groups</a:t>
            </a:r>
          </a:p>
          <a:p>
            <a:pPr lvl="1" indent="-171450">
              <a:buFont typeface="Arial"/>
              <a:buChar char="•"/>
            </a:pPr>
            <a:r>
              <a:rPr lang="en-GB">
                <a:cs typeface="Calibri"/>
              </a:rPr>
              <a:t>Accommodate New destination</a:t>
            </a:r>
          </a:p>
          <a:p>
            <a:pPr marL="1314450" lvl="2" indent="-171450">
              <a:buFont typeface="Arial"/>
              <a:buChar char="•"/>
            </a:pPr>
            <a:r>
              <a:rPr lang="en-GB" err="1">
                <a:cs typeface="Calibri"/>
              </a:rPr>
              <a:t>Eg.</a:t>
            </a:r>
            <a:r>
              <a:rPr lang="en-GB">
                <a:cs typeface="Calibri"/>
              </a:rPr>
              <a:t> Taiwan </a:t>
            </a:r>
          </a:p>
          <a:p>
            <a:pPr indent="-171450">
              <a:buFont typeface="Arial"/>
              <a:buChar char="•"/>
            </a:pPr>
            <a:r>
              <a:rPr lang="en-GB">
                <a:cs typeface="Calibri"/>
              </a:rPr>
              <a:t>SH, </a:t>
            </a:r>
            <a:r>
              <a:rPr lang="en-GB" err="1">
                <a:cs typeface="Calibri"/>
              </a:rPr>
              <a:t>NAm</a:t>
            </a:r>
            <a:r>
              <a:rPr lang="en-GB">
                <a:cs typeface="Calibri"/>
              </a:rPr>
              <a:t>:</a:t>
            </a:r>
          </a:p>
          <a:p>
            <a:pPr marL="914400" lvl="1" indent="-171450">
              <a:buFont typeface="Arial"/>
              <a:buChar char="•"/>
            </a:pPr>
            <a:r>
              <a:rPr lang="en-GB">
                <a:cs typeface="Calibri"/>
              </a:rPr>
              <a:t>2 largest markets for BA and </a:t>
            </a:r>
            <a:r>
              <a:rPr lang="en-GB" err="1">
                <a:cs typeface="Calibri"/>
              </a:rPr>
              <a:t>arge</a:t>
            </a:r>
            <a:r>
              <a:rPr lang="en-GB"/>
              <a:t> Difference between Country Groups on Tiers, needs more granularity</a:t>
            </a:r>
            <a:endParaRPr lang="en-GB">
              <a:cs typeface="Calibri"/>
            </a:endParaRPr>
          </a:p>
          <a:p>
            <a:pPr marL="1314450" lvl="2" indent="-171450">
              <a:buFont typeface="Arial"/>
              <a:buChar char="•"/>
            </a:pPr>
            <a:r>
              <a:rPr lang="en-GB">
                <a:cs typeface="Calibri"/>
              </a:rPr>
              <a:t>EG, Benelux vs Eastern Europe</a:t>
            </a:r>
          </a:p>
          <a:p>
            <a:pPr marL="1600200" lvl="3" indent="-171450">
              <a:buFont typeface="Arial"/>
              <a:buChar char="•"/>
            </a:pPr>
            <a:r>
              <a:rPr lang="en-GB">
                <a:cs typeface="Calibri"/>
              </a:rPr>
              <a:t>5% of difference between Tier 3 out of all Eligibilities</a:t>
            </a:r>
          </a:p>
          <a:p>
            <a:pPr marL="1600200" lvl="3" indent="-171450">
              <a:buFont typeface="Arial"/>
              <a:buChar char="•"/>
            </a:pPr>
            <a:r>
              <a:rPr lang="en-GB">
                <a:cs typeface="Calibri"/>
              </a:rPr>
              <a:t>80K flights to Europe, that’s will be a huge difference</a:t>
            </a:r>
          </a:p>
          <a:p>
            <a:pPr lvl="1" indent="-171450">
              <a:buFont typeface="Arial"/>
              <a:buChar char="•"/>
            </a:pPr>
            <a:endParaRPr lang="en-GB">
              <a:cs typeface="Calibri"/>
            </a:endParaRPr>
          </a:p>
          <a:p>
            <a:pPr lvl="1" indent="-171450">
              <a:buFont typeface="Arial"/>
              <a:buChar char="•"/>
            </a:pPr>
            <a:endParaRPr lang="en-GB">
              <a:cs typeface="Calibri"/>
            </a:endParaRPr>
          </a:p>
          <a:p>
            <a:pPr lvl="1" indent="-171450">
              <a:buFont typeface="Arial"/>
              <a:buChar char="•"/>
            </a:pPr>
            <a:endParaRPr lang="en-GB">
              <a:cs typeface="Calibri"/>
            </a:endParaRPr>
          </a:p>
          <a:p>
            <a:r>
              <a:rPr lang="en-GB">
                <a:cs typeface="Calibri"/>
              </a:rPr>
              <a:t>Region: No possible route and low number of flights</a:t>
            </a:r>
          </a:p>
        </p:txBody>
      </p:sp>
      <p:sp>
        <p:nvSpPr>
          <p:cNvPr id="4" name="Slide Number Placeholder 3"/>
          <p:cNvSpPr>
            <a:spLocks noGrp="1"/>
          </p:cNvSpPr>
          <p:nvPr>
            <p:ph type="sldNum" sz="quarter" idx="5"/>
          </p:nvPr>
        </p:nvSpPr>
        <p:spPr/>
        <p:txBody>
          <a:bodyPr/>
          <a:lstStyle/>
          <a:p>
            <a:fld id="{C6175393-3668-F443-9547-1D78A8564F6A}" type="slidenum">
              <a:rPr lang="en-US" smtClean="0"/>
              <a:t>11</a:t>
            </a:fld>
            <a:endParaRPr lang="en-US"/>
          </a:p>
        </p:txBody>
      </p:sp>
    </p:spTree>
    <p:extLst>
      <p:ext uri="{BB962C8B-B14F-4D97-AF65-F5344CB8AC3E}">
        <p14:creationId xmlns:p14="http://schemas.microsoft.com/office/powerpoint/2010/main" val="21860359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an</a:t>
            </a:r>
          </a:p>
        </p:txBody>
      </p:sp>
      <p:sp>
        <p:nvSpPr>
          <p:cNvPr id="4" name="Slide Number Placeholder 3"/>
          <p:cNvSpPr>
            <a:spLocks noGrp="1"/>
          </p:cNvSpPr>
          <p:nvPr>
            <p:ph type="sldNum" sz="quarter" idx="5"/>
          </p:nvPr>
        </p:nvSpPr>
        <p:spPr/>
        <p:txBody>
          <a:bodyPr/>
          <a:lstStyle/>
          <a:p>
            <a:fld id="{C6175393-3668-F443-9547-1D78A8564F6A}" type="slidenum">
              <a:rPr lang="en-US" smtClean="0"/>
              <a:t>12</a:t>
            </a:fld>
            <a:endParaRPr lang="en-US"/>
          </a:p>
        </p:txBody>
      </p:sp>
    </p:spTree>
    <p:extLst>
      <p:ext uri="{BB962C8B-B14F-4D97-AF65-F5344CB8AC3E}">
        <p14:creationId xmlns:p14="http://schemas.microsoft.com/office/powerpoint/2010/main" val="24512565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an</a:t>
            </a:r>
          </a:p>
          <a:p>
            <a:r>
              <a:rPr lang="en-GB" dirty="0">
                <a:cs typeface="Calibri"/>
              </a:rPr>
              <a:t>Limitation</a:t>
            </a:r>
            <a:endParaRPr lang="en-GB">
              <a:ea typeface="Calibri"/>
              <a:cs typeface="Calibri"/>
            </a:endParaRPr>
          </a:p>
          <a:p>
            <a:pPr marL="171450" indent="-171450">
              <a:buFont typeface="Arial"/>
              <a:buChar char="•"/>
            </a:pPr>
            <a:r>
              <a:rPr lang="en-GB" dirty="0">
                <a:cs typeface="Calibri"/>
              </a:rPr>
              <a:t>No peek week details for 2025, although we have peek weeks for 2019 and 2023</a:t>
            </a:r>
            <a:endParaRPr lang="en-GB">
              <a:ea typeface="Calibri"/>
              <a:cs typeface="Calibri"/>
            </a:endParaRPr>
          </a:p>
          <a:p>
            <a:pPr marL="171450" indent="-171450">
              <a:buFont typeface="Arial"/>
              <a:buChar char="•"/>
            </a:pPr>
            <a:r>
              <a:rPr lang="en-GB" dirty="0">
                <a:cs typeface="Calibri"/>
              </a:rPr>
              <a:t>We have no Winter Data, which can varies a lot from Summer Data</a:t>
            </a:r>
            <a:endParaRPr lang="en-GB">
              <a:ea typeface="Calibri"/>
              <a:cs typeface="Calibri"/>
            </a:endParaRPr>
          </a:p>
          <a:p>
            <a:pPr marL="1085850" lvl="1" indent="-171450">
              <a:buFont typeface="Arial"/>
              <a:buChar char="•"/>
            </a:pPr>
            <a:r>
              <a:rPr lang="en-GB" dirty="0">
                <a:cs typeface="Calibri"/>
              </a:rPr>
              <a:t>Different Seasons</a:t>
            </a:r>
            <a:endParaRPr lang="en-GB">
              <a:ea typeface="Calibri"/>
              <a:cs typeface="Calibri"/>
            </a:endParaRPr>
          </a:p>
          <a:p>
            <a:pPr marL="171450" indent="-171450">
              <a:buFont typeface="Arial"/>
              <a:buChar char="•"/>
            </a:pPr>
            <a:r>
              <a:rPr lang="en-GB" dirty="0">
                <a:cs typeface="Calibri"/>
              </a:rPr>
              <a:t>Cannot accommodate significant cabin size changes</a:t>
            </a:r>
            <a:endParaRPr lang="en-GB">
              <a:ea typeface="Calibri"/>
              <a:cs typeface="Calibri"/>
            </a:endParaRPr>
          </a:p>
          <a:p>
            <a:pPr marL="1085850" lvl="1" indent="-171450">
              <a:buFont typeface="Arial"/>
              <a:buChar char="•"/>
            </a:pPr>
            <a:r>
              <a:rPr lang="en-GB" dirty="0">
                <a:cs typeface="Calibri"/>
              </a:rPr>
              <a:t>Only do between 0 to 17 First seats, cannot do &gt;17 Frist</a:t>
            </a:r>
            <a:endParaRPr lang="en-GB">
              <a:ea typeface="Calibri"/>
              <a:cs typeface="Calibri"/>
            </a:endParaRPr>
          </a:p>
          <a:p>
            <a:pPr indent="-171450">
              <a:buFont typeface="Arial"/>
              <a:buChar char="•"/>
            </a:pPr>
            <a:endParaRPr lang="en-GB" dirty="0">
              <a:cs typeface="Calibri"/>
            </a:endParaRPr>
          </a:p>
          <a:p>
            <a:r>
              <a:rPr lang="en-GB" dirty="0">
                <a:cs typeface="Calibri"/>
              </a:rPr>
              <a:t>Further Exploration</a:t>
            </a:r>
            <a:endParaRPr lang="en-GB">
              <a:ea typeface="Calibri"/>
              <a:cs typeface="Calibri"/>
            </a:endParaRPr>
          </a:p>
          <a:p>
            <a:pPr marL="171450" indent="-171450">
              <a:buFont typeface="Arial"/>
              <a:buChar char="•"/>
            </a:pPr>
            <a:r>
              <a:rPr lang="en-GB" dirty="0">
                <a:cs typeface="Calibri"/>
              </a:rPr>
              <a:t>Departure time of the day</a:t>
            </a:r>
            <a:endParaRPr lang="en-GB">
              <a:ea typeface="Calibri"/>
              <a:cs typeface="Calibri"/>
            </a:endParaRPr>
          </a:p>
          <a:p>
            <a:pPr marL="1257300" lvl="1" indent="-171450">
              <a:buFont typeface="Arial"/>
              <a:buChar char="•"/>
            </a:pPr>
            <a:r>
              <a:rPr lang="en-GB">
                <a:cs typeface="Calibri"/>
              </a:rPr>
              <a:t>We don't have 25 </a:t>
            </a:r>
            <a:r>
              <a:rPr lang="en-GB" err="1">
                <a:cs typeface="Calibri"/>
              </a:rPr>
              <a:t>schudule</a:t>
            </a:r>
            <a:endParaRPr lang="en-GB" err="1">
              <a:ea typeface="Calibri"/>
              <a:cs typeface="Calibri"/>
            </a:endParaRPr>
          </a:p>
          <a:p>
            <a:pPr marL="171450" indent="-171450">
              <a:buFont typeface="Arial"/>
              <a:buChar char="•"/>
            </a:pPr>
            <a:r>
              <a:rPr lang="en-GB" dirty="0">
                <a:cs typeface="Calibri"/>
              </a:rPr>
              <a:t>Status vs Eligibility</a:t>
            </a:r>
            <a:endParaRPr lang="en-GB">
              <a:ea typeface="Calibri"/>
              <a:cs typeface="Calibri"/>
            </a:endParaRPr>
          </a:p>
          <a:p>
            <a:pPr marL="1257300" lvl="1" indent="-171450">
              <a:buFont typeface="Arial"/>
              <a:buChar char="•"/>
            </a:pPr>
            <a:r>
              <a:rPr lang="en-GB" dirty="0">
                <a:cs typeface="Calibri"/>
              </a:rPr>
              <a:t>How Status will changes the eligibility</a:t>
            </a:r>
            <a:endParaRPr lang="en-GB">
              <a:ea typeface="Calibri"/>
              <a:cs typeface="Calibri"/>
            </a:endParaRPr>
          </a:p>
          <a:p>
            <a:pPr marL="1485900" lvl="2" indent="-171450">
              <a:buFont typeface="Arial"/>
              <a:buChar char="•"/>
            </a:pPr>
            <a:r>
              <a:rPr lang="en-GB" dirty="0">
                <a:cs typeface="Calibri"/>
              </a:rPr>
              <a:t>If we can use predictions of eligibility to predict eligibility</a:t>
            </a:r>
            <a:endParaRPr lang="en-GB">
              <a:ea typeface="Calibri"/>
              <a:cs typeface="Calibri"/>
            </a:endParaRPr>
          </a:p>
          <a:p>
            <a:pPr marL="171450" indent="-171450">
              <a:buFont typeface="Arial"/>
              <a:buChar char="•"/>
            </a:pPr>
            <a:r>
              <a:rPr lang="en-GB" dirty="0">
                <a:cs typeface="Calibri"/>
              </a:rPr>
              <a:t>Connecting Traffic</a:t>
            </a:r>
            <a:endParaRPr lang="en-GB">
              <a:ea typeface="Calibri"/>
              <a:cs typeface="Calibri"/>
            </a:endParaRPr>
          </a:p>
          <a:p>
            <a:pPr marL="1257300" lvl="1" indent="-171450">
              <a:buFont typeface="Arial"/>
              <a:buChar char="•"/>
            </a:pPr>
            <a:r>
              <a:rPr lang="en-GB" dirty="0" err="1">
                <a:cs typeface="Calibri"/>
              </a:rPr>
              <a:t>Eg.</a:t>
            </a:r>
            <a:r>
              <a:rPr lang="en-GB" dirty="0">
                <a:cs typeface="Calibri"/>
              </a:rPr>
              <a:t> Disregard short connections, no reason to use lounge if you have a flight in 20 minutes</a:t>
            </a:r>
            <a:endParaRPr lang="en-GB">
              <a:ea typeface="Calibri"/>
              <a:cs typeface="Calibri"/>
            </a:endParaRPr>
          </a:p>
        </p:txBody>
      </p:sp>
      <p:sp>
        <p:nvSpPr>
          <p:cNvPr id="4" name="Slide Number Placeholder 3"/>
          <p:cNvSpPr>
            <a:spLocks noGrp="1"/>
          </p:cNvSpPr>
          <p:nvPr>
            <p:ph type="sldNum" sz="quarter" idx="5"/>
          </p:nvPr>
        </p:nvSpPr>
        <p:spPr/>
        <p:txBody>
          <a:bodyPr/>
          <a:lstStyle/>
          <a:p>
            <a:fld id="{C6175393-3668-F443-9547-1D78A8564F6A}" type="slidenum">
              <a:rPr lang="en-US" smtClean="0"/>
              <a:t>13</a:t>
            </a:fld>
            <a:endParaRPr lang="en-US"/>
          </a:p>
        </p:txBody>
      </p:sp>
    </p:spTree>
    <p:extLst>
      <p:ext uri="{BB962C8B-B14F-4D97-AF65-F5344CB8AC3E}">
        <p14:creationId xmlns:p14="http://schemas.microsoft.com/office/powerpoint/2010/main" val="41257856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Jamie</a:t>
            </a:r>
          </a:p>
        </p:txBody>
      </p:sp>
      <p:sp>
        <p:nvSpPr>
          <p:cNvPr id="4" name="Slide Number Placeholder 3"/>
          <p:cNvSpPr>
            <a:spLocks noGrp="1"/>
          </p:cNvSpPr>
          <p:nvPr>
            <p:ph type="sldNum" sz="quarter" idx="5"/>
          </p:nvPr>
        </p:nvSpPr>
        <p:spPr/>
        <p:txBody>
          <a:bodyPr/>
          <a:lstStyle/>
          <a:p>
            <a:fld id="{C6175393-3668-F443-9547-1D78A8564F6A}" type="slidenum">
              <a:rPr lang="en-US" smtClean="0"/>
              <a:t>14</a:t>
            </a:fld>
            <a:endParaRPr lang="en-US"/>
          </a:p>
        </p:txBody>
      </p:sp>
    </p:spTree>
    <p:extLst>
      <p:ext uri="{BB962C8B-B14F-4D97-AF65-F5344CB8AC3E}">
        <p14:creationId xmlns:p14="http://schemas.microsoft.com/office/powerpoint/2010/main" val="15373667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50000"/>
              </a:lnSpc>
              <a:spcBef>
                <a:spcPts val="1000"/>
              </a:spcBef>
              <a:buFont typeface="Arial,Sans-Serif"/>
              <a:buNone/>
            </a:pPr>
            <a:r>
              <a:rPr lang="en-US" b="1" dirty="0"/>
              <a:t>Jamie</a:t>
            </a:r>
          </a:p>
          <a:p>
            <a:pPr marL="0" indent="0">
              <a:lnSpc>
                <a:spcPct val="150000"/>
              </a:lnSpc>
              <a:spcBef>
                <a:spcPts val="1000"/>
              </a:spcBef>
              <a:buFont typeface="Arial,Sans-Serif"/>
              <a:buNone/>
            </a:pPr>
            <a:endParaRPr lang="en-US" b="1" dirty="0"/>
          </a:p>
          <a:p>
            <a:pPr marL="0" indent="0">
              <a:lnSpc>
                <a:spcPct val="150000"/>
              </a:lnSpc>
              <a:spcBef>
                <a:spcPts val="1000"/>
              </a:spcBef>
              <a:buFont typeface="Arial,Sans-Serif"/>
              <a:buNone/>
            </a:pPr>
            <a:r>
              <a:rPr lang="en-US" b="0" dirty="0"/>
              <a:t>We are not recommending a Tier </a:t>
            </a:r>
            <a:r>
              <a:rPr lang="en-US" b="0"/>
              <a:t>1 lounge.</a:t>
            </a:r>
            <a:endParaRPr lang="en-US" b="0" dirty="0"/>
          </a:p>
        </p:txBody>
      </p:sp>
      <p:sp>
        <p:nvSpPr>
          <p:cNvPr id="4" name="Slide Number Placeholder 3"/>
          <p:cNvSpPr>
            <a:spLocks noGrp="1"/>
          </p:cNvSpPr>
          <p:nvPr>
            <p:ph type="sldNum" sz="quarter" idx="5"/>
          </p:nvPr>
        </p:nvSpPr>
        <p:spPr/>
        <p:txBody>
          <a:bodyPr/>
          <a:lstStyle/>
          <a:p>
            <a:fld id="{C6175393-3668-F443-9547-1D78A8564F6A}" type="slidenum">
              <a:rPr lang="en-US" smtClean="0"/>
              <a:t>15</a:t>
            </a:fld>
            <a:endParaRPr lang="en-US"/>
          </a:p>
        </p:txBody>
      </p:sp>
    </p:spTree>
    <p:extLst>
      <p:ext uri="{BB962C8B-B14F-4D97-AF65-F5344CB8AC3E}">
        <p14:creationId xmlns:p14="http://schemas.microsoft.com/office/powerpoint/2010/main" val="18677261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Jamie</a:t>
            </a:r>
          </a:p>
        </p:txBody>
      </p:sp>
      <p:sp>
        <p:nvSpPr>
          <p:cNvPr id="4" name="Slide Number Placeholder 3"/>
          <p:cNvSpPr>
            <a:spLocks noGrp="1"/>
          </p:cNvSpPr>
          <p:nvPr>
            <p:ph type="sldNum" sz="quarter" idx="5"/>
          </p:nvPr>
        </p:nvSpPr>
        <p:spPr/>
        <p:txBody>
          <a:bodyPr/>
          <a:lstStyle/>
          <a:p>
            <a:fld id="{C6175393-3668-F443-9547-1D78A8564F6A}" type="slidenum">
              <a:rPr lang="en-US" smtClean="0"/>
              <a:t>16</a:t>
            </a:fld>
            <a:endParaRPr lang="en-US"/>
          </a:p>
        </p:txBody>
      </p:sp>
    </p:spTree>
    <p:extLst>
      <p:ext uri="{BB962C8B-B14F-4D97-AF65-F5344CB8AC3E}">
        <p14:creationId xmlns:p14="http://schemas.microsoft.com/office/powerpoint/2010/main" val="35422022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Jamie</a:t>
            </a:r>
          </a:p>
        </p:txBody>
      </p:sp>
      <p:sp>
        <p:nvSpPr>
          <p:cNvPr id="4" name="Slide Number Placeholder 3"/>
          <p:cNvSpPr>
            <a:spLocks noGrp="1"/>
          </p:cNvSpPr>
          <p:nvPr>
            <p:ph type="sldNum" sz="quarter" idx="5"/>
          </p:nvPr>
        </p:nvSpPr>
        <p:spPr/>
        <p:txBody>
          <a:bodyPr/>
          <a:lstStyle/>
          <a:p>
            <a:fld id="{C6175393-3668-F443-9547-1D78A8564F6A}" type="slidenum">
              <a:rPr lang="en-US" smtClean="0"/>
              <a:t>17</a:t>
            </a:fld>
            <a:endParaRPr lang="en-US"/>
          </a:p>
        </p:txBody>
      </p:sp>
    </p:spTree>
    <p:extLst>
      <p:ext uri="{BB962C8B-B14F-4D97-AF65-F5344CB8AC3E}">
        <p14:creationId xmlns:p14="http://schemas.microsoft.com/office/powerpoint/2010/main" val="1715721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Jamie</a:t>
            </a:r>
          </a:p>
          <a:p>
            <a:endParaRPr lang="en-GB" dirty="0"/>
          </a:p>
          <a:p>
            <a:r>
              <a:rPr lang="en-GB" dirty="0"/>
              <a:t>Re state the business problem</a:t>
            </a:r>
          </a:p>
          <a:p>
            <a:endParaRPr lang="en-GB" dirty="0"/>
          </a:p>
          <a:p>
            <a:r>
              <a:rPr lang="en-GB" dirty="0"/>
              <a:t>So getting this right is very important.</a:t>
            </a:r>
          </a:p>
          <a:p>
            <a:endParaRPr lang="en-GB" dirty="0"/>
          </a:p>
          <a:p>
            <a:r>
              <a:rPr lang="en-GB" dirty="0"/>
              <a:t>We will begin by outlining our assumptions.</a:t>
            </a:r>
          </a:p>
        </p:txBody>
      </p:sp>
      <p:sp>
        <p:nvSpPr>
          <p:cNvPr id="4" name="Slide Number Placeholder 3"/>
          <p:cNvSpPr>
            <a:spLocks noGrp="1"/>
          </p:cNvSpPr>
          <p:nvPr>
            <p:ph type="sldNum" sz="quarter" idx="5"/>
          </p:nvPr>
        </p:nvSpPr>
        <p:spPr/>
        <p:txBody>
          <a:bodyPr/>
          <a:lstStyle/>
          <a:p>
            <a:fld id="{C6175393-3668-F443-9547-1D78A8564F6A}" type="slidenum">
              <a:rPr lang="en-US" smtClean="0"/>
              <a:t>2</a:t>
            </a:fld>
            <a:endParaRPr lang="en-US"/>
          </a:p>
        </p:txBody>
      </p:sp>
    </p:spTree>
    <p:extLst>
      <p:ext uri="{BB962C8B-B14F-4D97-AF65-F5344CB8AC3E}">
        <p14:creationId xmlns:p14="http://schemas.microsoft.com/office/powerpoint/2010/main" val="29240637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Jamie</a:t>
            </a:r>
          </a:p>
          <a:p>
            <a:endParaRPr lang="en-GB" dirty="0"/>
          </a:p>
        </p:txBody>
      </p:sp>
      <p:sp>
        <p:nvSpPr>
          <p:cNvPr id="4" name="Slide Number Placeholder 3"/>
          <p:cNvSpPr>
            <a:spLocks noGrp="1"/>
          </p:cNvSpPr>
          <p:nvPr>
            <p:ph type="sldNum" sz="quarter" idx="5"/>
          </p:nvPr>
        </p:nvSpPr>
        <p:spPr/>
        <p:txBody>
          <a:bodyPr/>
          <a:lstStyle/>
          <a:p>
            <a:fld id="{C6175393-3668-F443-9547-1D78A8564F6A}" type="slidenum">
              <a:rPr lang="en-US" smtClean="0"/>
              <a:t>3</a:t>
            </a:fld>
            <a:endParaRPr lang="en-US"/>
          </a:p>
        </p:txBody>
      </p:sp>
    </p:spTree>
    <p:extLst>
      <p:ext uri="{BB962C8B-B14F-4D97-AF65-F5344CB8AC3E}">
        <p14:creationId xmlns:p14="http://schemas.microsoft.com/office/powerpoint/2010/main" val="37358312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Jamie</a:t>
            </a:r>
          </a:p>
          <a:p>
            <a:endParaRPr lang="en-GB" dirty="0"/>
          </a:p>
          <a:p>
            <a:r>
              <a:rPr lang="en-GB" dirty="0"/>
              <a:t>We don’t expect drastic changes to the criteria by which lounge eligibility is calculated, both positive or negative.</a:t>
            </a:r>
          </a:p>
          <a:p>
            <a:r>
              <a:rPr lang="en-GB" dirty="0"/>
              <a:t>For example, we do not expect the airline to introduce e.g. a discount club or First fares which does not include lounge access, or remove lounge access from Silver card holders or give it to Bronze. Or, even though this would be very nice, to give it to staff on premium standby fares.</a:t>
            </a:r>
          </a:p>
          <a:p>
            <a:endParaRPr lang="en-GB" dirty="0"/>
          </a:p>
          <a:p>
            <a:r>
              <a:rPr lang="en-GB" dirty="0"/>
              <a:t>We can only base it on previous years. Each of our broad groupings should be broadly similar to previous years.</a:t>
            </a:r>
          </a:p>
          <a:p>
            <a:endParaRPr lang="en-GB" dirty="0"/>
          </a:p>
          <a:p>
            <a:r>
              <a:rPr lang="en-GB" dirty="0"/>
              <a:t>Aircraft will not significantly change, so we won’t introduce a new business class only route from T3.</a:t>
            </a:r>
          </a:p>
          <a:p>
            <a:endParaRPr lang="en-GB" dirty="0"/>
          </a:p>
          <a:p>
            <a:r>
              <a:rPr lang="en-GB" dirty="0"/>
              <a:t>BA customers will choose the BA lounge. They are eligible to access the </a:t>
            </a:r>
            <a:r>
              <a:rPr lang="en-GB" dirty="0" err="1"/>
              <a:t>OneWorld</a:t>
            </a:r>
            <a:r>
              <a:rPr lang="en-GB" dirty="0"/>
              <a:t> partner lounges, but we assume they won’t at this stage. Also </a:t>
            </a:r>
            <a:r>
              <a:rPr lang="en-GB" dirty="0" err="1"/>
              <a:t>OneWorld</a:t>
            </a:r>
            <a:r>
              <a:rPr lang="en-GB" dirty="0"/>
              <a:t> partner customers won’t come to BA lounge.</a:t>
            </a:r>
          </a:p>
          <a:p>
            <a:r>
              <a:rPr lang="en-GB" dirty="0"/>
              <a:t>These affect lounge uptake rate and so is something the lounge sizing team will have to consider in the next stage.</a:t>
            </a:r>
          </a:p>
          <a:p>
            <a:endParaRPr lang="en-GB" dirty="0"/>
          </a:p>
          <a:p>
            <a:endParaRPr lang="en-GB" dirty="0"/>
          </a:p>
        </p:txBody>
      </p:sp>
      <p:sp>
        <p:nvSpPr>
          <p:cNvPr id="4" name="Slide Number Placeholder 3"/>
          <p:cNvSpPr>
            <a:spLocks noGrp="1"/>
          </p:cNvSpPr>
          <p:nvPr>
            <p:ph type="sldNum" sz="quarter" idx="5"/>
          </p:nvPr>
        </p:nvSpPr>
        <p:spPr/>
        <p:txBody>
          <a:bodyPr/>
          <a:lstStyle/>
          <a:p>
            <a:fld id="{C6175393-3668-F443-9547-1D78A8564F6A}" type="slidenum">
              <a:rPr lang="en-US" smtClean="0"/>
              <a:t>4</a:t>
            </a:fld>
            <a:endParaRPr lang="en-US"/>
          </a:p>
        </p:txBody>
      </p:sp>
    </p:spTree>
    <p:extLst>
      <p:ext uri="{BB962C8B-B14F-4D97-AF65-F5344CB8AC3E}">
        <p14:creationId xmlns:p14="http://schemas.microsoft.com/office/powerpoint/2010/main" val="27124485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eorge</a:t>
            </a:r>
          </a:p>
        </p:txBody>
      </p:sp>
      <p:sp>
        <p:nvSpPr>
          <p:cNvPr id="4" name="Slide Number Placeholder 3"/>
          <p:cNvSpPr>
            <a:spLocks noGrp="1"/>
          </p:cNvSpPr>
          <p:nvPr>
            <p:ph type="sldNum" sz="quarter" idx="5"/>
          </p:nvPr>
        </p:nvSpPr>
        <p:spPr/>
        <p:txBody>
          <a:bodyPr/>
          <a:lstStyle/>
          <a:p>
            <a:fld id="{C6175393-3668-F443-9547-1D78A8564F6A}" type="slidenum">
              <a:rPr lang="en-US" smtClean="0"/>
              <a:t>5</a:t>
            </a:fld>
            <a:endParaRPr lang="en-US"/>
          </a:p>
        </p:txBody>
      </p:sp>
    </p:spTree>
    <p:extLst>
      <p:ext uri="{BB962C8B-B14F-4D97-AF65-F5344CB8AC3E}">
        <p14:creationId xmlns:p14="http://schemas.microsoft.com/office/powerpoint/2010/main" val="17530076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George:</a:t>
            </a:r>
            <a:endParaRPr lang="en-GB" dirty="0"/>
          </a:p>
          <a:p>
            <a:endParaRPr lang="en-GB"/>
          </a:p>
          <a:p>
            <a:pPr marL="171450" indent="-171450">
              <a:buFontTx/>
              <a:buChar char="-"/>
            </a:pPr>
            <a:r>
              <a:rPr lang="en-GB"/>
              <a:t>We chose to divide the table into short haul and long haul as they have very different properties </a:t>
            </a:r>
          </a:p>
          <a:p>
            <a:pPr marL="628650" lvl="1" indent="-171450">
              <a:buFontTx/>
              <a:buChar char="-"/>
            </a:pPr>
            <a:r>
              <a:rPr lang="en-GB"/>
              <a:t>This was decided by the cabin selling class, e.g. if they sold premium economy it was classed long haul</a:t>
            </a:r>
          </a:p>
          <a:p>
            <a:pPr marL="171450" indent="-171450">
              <a:buFontTx/>
              <a:buChar char="-"/>
            </a:pPr>
            <a:r>
              <a:rPr lang="en-GB">
                <a:cs typeface="+mn-cs"/>
              </a:rPr>
              <a:t>We then went to divide long haul up into the number of first class seats offered, this enables us to get a “premium” factor which correlated well with tiered pax</a:t>
            </a:r>
          </a:p>
          <a:p>
            <a:pPr marL="171450" indent="-171450">
              <a:buFontTx/>
              <a:buChar char="-"/>
            </a:pPr>
            <a:r>
              <a:rPr lang="en-GB">
                <a:cs typeface="+mn-cs"/>
              </a:rPr>
              <a:t>Then we wanted to regionally divide both SH AND LH, into continent and country group respectively.</a:t>
            </a:r>
          </a:p>
          <a:p>
            <a:pPr marL="628650" lvl="1" indent="-171450">
              <a:buFontTx/>
              <a:buChar char="-"/>
            </a:pPr>
            <a:r>
              <a:rPr lang="en-GB">
                <a:cs typeface="+mn-cs"/>
              </a:rPr>
              <a:t>We had to be more granular for SH as it is really only the European market where as </a:t>
            </a:r>
          </a:p>
          <a:p>
            <a:pPr marL="628650" lvl="1" indent="-171450">
              <a:buFontTx/>
              <a:buChar char="-"/>
            </a:pPr>
            <a:r>
              <a:rPr lang="en-GB">
                <a:cs typeface="+mn-cs"/>
              </a:rPr>
              <a:t>However, for North America we also wanted to be more granular as this represents a large proportion of our LH network</a:t>
            </a:r>
            <a:endParaRPr lang="en-GB">
              <a:cs typeface="Calibri"/>
            </a:endParaRPr>
          </a:p>
        </p:txBody>
      </p:sp>
      <p:sp>
        <p:nvSpPr>
          <p:cNvPr id="4" name="Slide Number Placeholder 3"/>
          <p:cNvSpPr>
            <a:spLocks noGrp="1"/>
          </p:cNvSpPr>
          <p:nvPr>
            <p:ph type="sldNum" sz="quarter" idx="5"/>
          </p:nvPr>
        </p:nvSpPr>
        <p:spPr/>
        <p:txBody>
          <a:bodyPr/>
          <a:lstStyle/>
          <a:p>
            <a:fld id="{C6175393-3668-F443-9547-1D78A8564F6A}" type="slidenum">
              <a:rPr lang="en-US" smtClean="0"/>
              <a:t>6</a:t>
            </a:fld>
            <a:endParaRPr lang="en-US"/>
          </a:p>
        </p:txBody>
      </p:sp>
    </p:spTree>
    <p:extLst>
      <p:ext uri="{BB962C8B-B14F-4D97-AF65-F5344CB8AC3E}">
        <p14:creationId xmlns:p14="http://schemas.microsoft.com/office/powerpoint/2010/main" val="28697480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eorge</a:t>
            </a:r>
          </a:p>
          <a:p>
            <a:pPr marL="171450" indent="-171450">
              <a:buFontTx/>
              <a:buChar char="-"/>
            </a:pPr>
            <a:r>
              <a:rPr lang="en-GB"/>
              <a:t>We figured that Terminal 3 has a slightly less premium profile, hence there are less tiered pax as a percentage </a:t>
            </a:r>
          </a:p>
          <a:p>
            <a:pPr marL="171450" indent="-171450">
              <a:buFontTx/>
              <a:buChar char="-"/>
            </a:pPr>
            <a:r>
              <a:rPr lang="en-GB"/>
              <a:t>Terminal 3 handles far less pax when compared to terminal 5</a:t>
            </a:r>
          </a:p>
          <a:p>
            <a:pPr marL="171450" indent="-171450">
              <a:buFontTx/>
              <a:buChar char="-"/>
            </a:pPr>
            <a:r>
              <a:rPr lang="en-GB"/>
              <a:t>The map shows where we fly to from T3</a:t>
            </a:r>
          </a:p>
          <a:p>
            <a:pPr marL="171450" indent="-171450">
              <a:buFontTx/>
              <a:buChar char="-"/>
            </a:pPr>
            <a:r>
              <a:rPr lang="en-GB"/>
              <a:t>Although we don’t know what routes will operate from t3 in 2025, we assume that they will follow the same trends of being less premium</a:t>
            </a:r>
          </a:p>
          <a:p>
            <a:pPr marL="171450" indent="-171450">
              <a:buFontTx/>
              <a:buChar char="-"/>
            </a:pPr>
            <a:r>
              <a:rPr lang="en-GB"/>
              <a:t>The graph shows what percentage of flights go from t3/t5, you can see that there are significant chunks in Africa and Europe with a bit of north America and middle east</a:t>
            </a:r>
          </a:p>
          <a:p>
            <a:pPr marL="171450" indent="-171450">
              <a:buFontTx/>
              <a:buChar char="-"/>
            </a:pPr>
            <a:r>
              <a:rPr lang="en-GB"/>
              <a:t>We have decided to use data from both terminals in the formation of our lookup table as we do not know what routes might change terminal and we believe the makeup of the terminal profiles come from their routes </a:t>
            </a:r>
          </a:p>
          <a:p>
            <a:pPr marL="171450" indent="-171450">
              <a:buFontTx/>
              <a:buChar char="-"/>
            </a:pPr>
            <a:endParaRPr lang="en-GB"/>
          </a:p>
        </p:txBody>
      </p:sp>
      <p:sp>
        <p:nvSpPr>
          <p:cNvPr id="4" name="Slide Number Placeholder 3"/>
          <p:cNvSpPr>
            <a:spLocks noGrp="1"/>
          </p:cNvSpPr>
          <p:nvPr>
            <p:ph type="sldNum" sz="quarter" idx="5"/>
          </p:nvPr>
        </p:nvSpPr>
        <p:spPr/>
        <p:txBody>
          <a:bodyPr/>
          <a:lstStyle/>
          <a:p>
            <a:fld id="{C6175393-3668-F443-9547-1D78A8564F6A}" type="slidenum">
              <a:rPr lang="en-US" smtClean="0"/>
              <a:t>8</a:t>
            </a:fld>
            <a:endParaRPr lang="en-US"/>
          </a:p>
        </p:txBody>
      </p:sp>
    </p:spTree>
    <p:extLst>
      <p:ext uri="{BB962C8B-B14F-4D97-AF65-F5344CB8AC3E}">
        <p14:creationId xmlns:p14="http://schemas.microsoft.com/office/powerpoint/2010/main" val="36774802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eorge</a:t>
            </a:r>
          </a:p>
          <a:p>
            <a:endParaRPr lang="en-GB"/>
          </a:p>
          <a:p>
            <a:pPr marL="171450" indent="-171450">
              <a:buFontTx/>
              <a:buChar char="-"/>
            </a:pPr>
            <a:r>
              <a:rPr lang="en-GB"/>
              <a:t>We combined all the data from 2019 and 2023 to form our table and analysis. </a:t>
            </a:r>
          </a:p>
          <a:p>
            <a:pPr marL="628650" lvl="1" indent="-171450">
              <a:buFontTx/>
              <a:buChar char="-"/>
            </a:pPr>
            <a:r>
              <a:rPr lang="en-GB"/>
              <a:t>We predict that 2025 will fall somewhere between the profiles of 2023 and 2019, we predict that the business market will increase towards 2019</a:t>
            </a:r>
          </a:p>
          <a:p>
            <a:pPr marL="628650" lvl="1" indent="-171450">
              <a:buFontTx/>
              <a:buChar char="-"/>
            </a:pPr>
            <a:r>
              <a:rPr lang="en-GB"/>
              <a:t>But the leisure market will be larger that 2019 due to our new ways of working and VFR travel 	</a:t>
            </a:r>
          </a:p>
          <a:p>
            <a:pPr marL="628650" lvl="1" indent="-171450">
              <a:buFontTx/>
              <a:buChar char="-"/>
            </a:pPr>
            <a:r>
              <a:rPr lang="en-GB"/>
              <a:t>2023 lacked data from specific regions due to many geopolitical reasons </a:t>
            </a:r>
          </a:p>
          <a:p>
            <a:pPr marL="628650" lvl="1" indent="-171450">
              <a:buFontTx/>
              <a:buChar char="-"/>
            </a:pPr>
            <a:r>
              <a:rPr lang="en-GB"/>
              <a:t>Proportions of data from 2023 were missing or contained errors resulting in less data available </a:t>
            </a:r>
          </a:p>
          <a:p>
            <a:pPr marL="457200" lvl="1" indent="0">
              <a:buFontTx/>
              <a:buNone/>
            </a:pPr>
            <a:endParaRPr lang="en-GB"/>
          </a:p>
        </p:txBody>
      </p:sp>
      <p:sp>
        <p:nvSpPr>
          <p:cNvPr id="4" name="Slide Number Placeholder 3"/>
          <p:cNvSpPr>
            <a:spLocks noGrp="1"/>
          </p:cNvSpPr>
          <p:nvPr>
            <p:ph type="sldNum" sz="quarter" idx="5"/>
          </p:nvPr>
        </p:nvSpPr>
        <p:spPr/>
        <p:txBody>
          <a:bodyPr/>
          <a:lstStyle/>
          <a:p>
            <a:fld id="{C6175393-3668-F443-9547-1D78A8564F6A}" type="slidenum">
              <a:rPr lang="en-US" smtClean="0"/>
              <a:t>9</a:t>
            </a:fld>
            <a:endParaRPr lang="en-US"/>
          </a:p>
        </p:txBody>
      </p:sp>
    </p:spTree>
    <p:extLst>
      <p:ext uri="{BB962C8B-B14F-4D97-AF65-F5344CB8AC3E}">
        <p14:creationId xmlns:p14="http://schemas.microsoft.com/office/powerpoint/2010/main" val="7802721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an</a:t>
            </a:r>
          </a:p>
          <a:p>
            <a:r>
              <a:rPr lang="en-GB">
                <a:cs typeface="Calibri"/>
              </a:rPr>
              <a:t>Break Down from First for Long Haul:</a:t>
            </a:r>
            <a:endParaRPr lang="en-GB">
              <a:ea typeface="Calibri"/>
              <a:cs typeface="Calibri"/>
            </a:endParaRPr>
          </a:p>
          <a:p>
            <a:pPr marL="171450" indent="-171450">
              <a:buFont typeface="Arial"/>
              <a:buChar char="•"/>
            </a:pPr>
            <a:r>
              <a:rPr lang="en-GB">
                <a:cs typeface="Calibri"/>
              </a:rPr>
              <a:t>Vast Majority of T1 gain eligibility by seat</a:t>
            </a:r>
            <a:endParaRPr lang="en-GB">
              <a:ea typeface="Calibri"/>
              <a:cs typeface="Calibri"/>
            </a:endParaRPr>
          </a:p>
          <a:p>
            <a:pPr marL="171450" indent="-171450">
              <a:buFont typeface="Arial"/>
              <a:buChar char="•"/>
            </a:pPr>
            <a:r>
              <a:rPr lang="en-GB">
                <a:cs typeface="Calibri"/>
              </a:rPr>
              <a:t>2. Group First seats number due to few flight's on 10,12,17 seats</a:t>
            </a:r>
            <a:endParaRPr lang="en-GB">
              <a:ea typeface="Calibri"/>
              <a:cs typeface="Calibri"/>
            </a:endParaRPr>
          </a:p>
          <a:p>
            <a:endParaRPr lang="en-GB">
              <a:cs typeface="Calibri"/>
            </a:endParaRPr>
          </a:p>
          <a:p>
            <a:r>
              <a:rPr lang="en-GB">
                <a:cs typeface="Calibri"/>
              </a:rPr>
              <a:t>No club for both Hauls</a:t>
            </a:r>
            <a:endParaRPr lang="en-GB">
              <a:ea typeface="Calibri"/>
              <a:cs typeface="Calibri"/>
            </a:endParaRPr>
          </a:p>
          <a:p>
            <a:pPr marL="228600" indent="-228600">
              <a:buFont typeface="Arial"/>
              <a:buChar char="•"/>
            </a:pPr>
            <a:r>
              <a:rPr lang="en-GB">
                <a:cs typeface="Calibri"/>
              </a:rPr>
              <a:t>LH: Continent more powerful</a:t>
            </a:r>
            <a:endParaRPr lang="en-GB">
              <a:ea typeface="Calibri"/>
              <a:cs typeface="Calibri"/>
            </a:endParaRPr>
          </a:p>
          <a:p>
            <a:pPr marL="228600" indent="-228600">
              <a:buFont typeface="Arial"/>
              <a:buChar char="•"/>
            </a:pPr>
            <a:r>
              <a:rPr lang="en-GB">
                <a:cs typeface="Calibri"/>
              </a:rPr>
              <a:t>SH: Dynamic cabin sizing (Curtain)</a:t>
            </a:r>
            <a:endParaRPr lang="en-GB">
              <a:ea typeface="Calibri"/>
              <a:cs typeface="Calibri"/>
            </a:endParaRPr>
          </a:p>
          <a:p>
            <a:pPr marL="685800" lvl="1" indent="-228600">
              <a:buFont typeface="Arial"/>
              <a:buChar char="•"/>
            </a:pPr>
            <a:r>
              <a:rPr lang="en-GB">
                <a:cs typeface="Calibri"/>
              </a:rPr>
              <a:t>No actual number, varies through booking</a:t>
            </a:r>
            <a:endParaRPr lang="en-GB">
              <a:ea typeface="Calibri"/>
              <a:cs typeface="Calibri"/>
            </a:endParaRPr>
          </a:p>
          <a:p>
            <a:pPr marL="1143000" lvl="2" indent="-228600">
              <a:buFont typeface="Arial"/>
              <a:buChar char="•"/>
            </a:pPr>
            <a:r>
              <a:rPr lang="en-GB">
                <a:cs typeface="Calibri"/>
              </a:rPr>
              <a:t>Example: Edinburgh</a:t>
            </a:r>
            <a:endParaRPr lang="en-GB">
              <a:ea typeface="Calibri"/>
              <a:cs typeface="Calibri"/>
            </a:endParaRPr>
          </a:p>
          <a:p>
            <a:pPr marL="1600200" lvl="3" indent="-228600">
              <a:buFont typeface="Arial"/>
              <a:buChar char="•"/>
            </a:pPr>
            <a:r>
              <a:rPr lang="en-GB">
                <a:cs typeface="Calibri"/>
              </a:rPr>
              <a:t>10 rows of Club in weekdays</a:t>
            </a:r>
            <a:endParaRPr lang="en-GB">
              <a:ea typeface="Calibri"/>
              <a:cs typeface="Calibri"/>
            </a:endParaRPr>
          </a:p>
          <a:p>
            <a:pPr marL="1600200" lvl="3" indent="-228600">
              <a:buFont typeface="Arial"/>
              <a:buChar char="•"/>
            </a:pPr>
            <a:r>
              <a:rPr lang="en-GB">
                <a:cs typeface="Calibri"/>
              </a:rPr>
              <a:t>4 rows of Club in weekends</a:t>
            </a:r>
            <a:endParaRPr lang="en-GB">
              <a:ea typeface="Calibri"/>
              <a:cs typeface="Calibri"/>
            </a:endParaRPr>
          </a:p>
        </p:txBody>
      </p:sp>
      <p:sp>
        <p:nvSpPr>
          <p:cNvPr id="4" name="Slide Number Placeholder 3"/>
          <p:cNvSpPr>
            <a:spLocks noGrp="1"/>
          </p:cNvSpPr>
          <p:nvPr>
            <p:ph type="sldNum" sz="quarter" idx="5"/>
          </p:nvPr>
        </p:nvSpPr>
        <p:spPr/>
        <p:txBody>
          <a:bodyPr/>
          <a:lstStyle/>
          <a:p>
            <a:fld id="{C6175393-3668-F443-9547-1D78A8564F6A}" type="slidenum">
              <a:rPr lang="en-US" smtClean="0"/>
              <a:t>10</a:t>
            </a:fld>
            <a:endParaRPr lang="en-US"/>
          </a:p>
        </p:txBody>
      </p:sp>
    </p:spTree>
    <p:extLst>
      <p:ext uri="{BB962C8B-B14F-4D97-AF65-F5344CB8AC3E}">
        <p14:creationId xmlns:p14="http://schemas.microsoft.com/office/powerpoint/2010/main" val="35229048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3.xml"/><Relationship Id="rId4"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3.xml"/><Relationship Id="rId4"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jpeg"/><Relationship Id="rId1" Type="http://schemas.openxmlformats.org/officeDocument/2006/relationships/slideMaster" Target="../slideMasters/slideMaster3.xml"/><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eg"/><Relationship Id="rId1" Type="http://schemas.openxmlformats.org/officeDocument/2006/relationships/slideMaster" Target="../slideMasters/slideMaster3.xml"/><Relationship Id="rId4" Type="http://schemas.openxmlformats.org/officeDocument/2006/relationships/image" Target="../media/image5.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jpeg"/><Relationship Id="rId1" Type="http://schemas.openxmlformats.org/officeDocument/2006/relationships/slideMaster" Target="../slideMasters/slideMaster3.xml"/><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jpeg"/><Relationship Id="rId1" Type="http://schemas.openxmlformats.org/officeDocument/2006/relationships/slideMaster" Target="../slideMasters/slideMaster3.xml"/><Relationship Id="rId5" Type="http://schemas.openxmlformats.org/officeDocument/2006/relationships/image" Target="../media/image5.emf"/><Relationship Id="rId4" Type="http://schemas.openxmlformats.org/officeDocument/2006/relationships/image" Target="../media/image23.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4" Type="http://schemas.openxmlformats.org/officeDocument/2006/relationships/image" Target="../media/image26.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xml"/><Relationship Id="rId4" Type="http://schemas.openxmlformats.org/officeDocument/2006/relationships/image" Target="../media/image26.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3.xml"/><Relationship Id="rId4" Type="http://schemas.openxmlformats.org/officeDocument/2006/relationships/image" Target="../media/image2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emf"/><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emf"/><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6F33A62B-14FA-E761-C332-E7DD31F47075}"/>
              </a:ext>
            </a:extLst>
          </p:cNvPr>
          <p:cNvSpPr>
            <a:spLocks noGrp="1"/>
          </p:cNvSpPr>
          <p:nvPr>
            <p:ph type="ctrTitle" hasCustomPrompt="1"/>
          </p:nvPr>
        </p:nvSpPr>
        <p:spPr>
          <a:xfrm>
            <a:off x="2781300" y="2619351"/>
            <a:ext cx="6629400" cy="2387600"/>
          </a:xfrm>
          <a:prstGeom prst="rect">
            <a:avLst/>
          </a:prstGeom>
        </p:spPr>
        <p:txBody>
          <a:bodyPr anchor="ctr">
            <a:normAutofit/>
          </a:bodyPr>
          <a:lstStyle>
            <a:lvl1pPr algn="ctr">
              <a:defRPr sz="4800" b="1" i="0" spc="600">
                <a:ln w="22225">
                  <a:solidFill>
                    <a:schemeClr val="bg1"/>
                  </a:solidFill>
                </a:ln>
                <a:noFill/>
                <a:latin typeface="Mylius Modern" panose="020B0504020202020204" pitchFamily="34" charset="0"/>
              </a:defRPr>
            </a:lvl1pPr>
          </a:lstStyle>
          <a:p>
            <a:r>
              <a:rPr lang="en-GB"/>
              <a:t>CLICK TO EDIT MASTER TITLE STYLE</a:t>
            </a:r>
            <a:endParaRPr lang="en-US"/>
          </a:p>
        </p:txBody>
      </p:sp>
      <p:pic>
        <p:nvPicPr>
          <p:cNvPr id="17" name="Picture 16" descr="Shape, rectangle&#10;&#10;Description automatically generated">
            <a:extLst>
              <a:ext uri="{FF2B5EF4-FFF2-40B4-BE49-F238E27FC236}">
                <a16:creationId xmlns:a16="http://schemas.microsoft.com/office/drawing/2014/main" id="{A64687B0-E65F-C6EC-C9D4-21F427F6500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93068" y="858819"/>
            <a:ext cx="1605864" cy="399469"/>
          </a:xfrm>
          <a:prstGeom prst="rect">
            <a:avLst/>
          </a:prstGeom>
        </p:spPr>
      </p:pic>
      <p:sp>
        <p:nvSpPr>
          <p:cNvPr id="18" name="Subtitle 2">
            <a:extLst>
              <a:ext uri="{FF2B5EF4-FFF2-40B4-BE49-F238E27FC236}">
                <a16:creationId xmlns:a16="http://schemas.microsoft.com/office/drawing/2014/main" id="{3B4B7865-3B96-6F1D-4900-0B050176E679}"/>
              </a:ext>
            </a:extLst>
          </p:cNvPr>
          <p:cNvSpPr>
            <a:spLocks noGrp="1"/>
          </p:cNvSpPr>
          <p:nvPr>
            <p:ph type="subTitle" idx="1" hasCustomPrompt="1"/>
          </p:nvPr>
        </p:nvSpPr>
        <p:spPr>
          <a:xfrm>
            <a:off x="1524000" y="5273414"/>
            <a:ext cx="9144000" cy="870483"/>
          </a:xfrm>
          <a:prstGeom prst="rect">
            <a:avLst/>
          </a:prstGeom>
        </p:spPr>
        <p:txBody>
          <a:bodyPr anchor="ctr">
            <a:normAutofit/>
          </a:bodyPr>
          <a:lstStyle>
            <a:lvl1pPr marL="0" indent="0" algn="ctr">
              <a:buNone/>
              <a:defRPr sz="1600" b="0" i="0" spc="300">
                <a:solidFill>
                  <a:schemeClr val="bg1"/>
                </a:solidFill>
                <a:latin typeface="Mylius Modern" panose="020B05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9" name="Text Placeholder 19">
            <a:extLst>
              <a:ext uri="{FF2B5EF4-FFF2-40B4-BE49-F238E27FC236}">
                <a16:creationId xmlns:a16="http://schemas.microsoft.com/office/drawing/2014/main" id="{57772A41-574F-4EB7-AA4E-56EAD5CF3420}"/>
              </a:ext>
            </a:extLst>
          </p:cNvPr>
          <p:cNvSpPr>
            <a:spLocks noGrp="1"/>
          </p:cNvSpPr>
          <p:nvPr>
            <p:ph type="body" sz="quarter" idx="10" hasCustomPrompt="1"/>
          </p:nvPr>
        </p:nvSpPr>
        <p:spPr>
          <a:xfrm>
            <a:off x="1524000" y="6259523"/>
            <a:ext cx="9144000" cy="216982"/>
          </a:xfrm>
          <a:prstGeom prst="rect">
            <a:avLst/>
          </a:prstGeom>
        </p:spPr>
        <p:txBody>
          <a:bodyPr anchor="ctr">
            <a:spAutoFit/>
          </a:bodyPr>
          <a:lstStyle>
            <a:lvl1pPr marL="0" indent="0" algn="ctr">
              <a:buNone/>
              <a:defRPr sz="900" b="0" i="0" spc="150" baseline="0">
                <a:solidFill>
                  <a:schemeClr val="bg1"/>
                </a:solidFill>
                <a:latin typeface="Mylius Modern Light" panose="020B0304020202020204" pitchFamily="34" charset="0"/>
              </a:defRPr>
            </a:lvl1pPr>
          </a:lstStyle>
          <a:p>
            <a:pPr lvl="0"/>
            <a:r>
              <a:rPr lang="en-GB"/>
              <a:t>CLICK TO EDIT MASTER TEXT STYLES</a:t>
            </a:r>
          </a:p>
        </p:txBody>
      </p:sp>
      <p:pic>
        <p:nvPicPr>
          <p:cNvPr id="2" name="Graphic 1">
            <a:extLst>
              <a:ext uri="{FF2B5EF4-FFF2-40B4-BE49-F238E27FC236}">
                <a16:creationId xmlns:a16="http://schemas.microsoft.com/office/drawing/2014/main" id="{AB101834-D973-7A18-525C-8298870A800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463622" y="1605169"/>
            <a:ext cx="1264756" cy="1185707"/>
          </a:xfrm>
          <a:prstGeom prst="rect">
            <a:avLst/>
          </a:prstGeom>
        </p:spPr>
      </p:pic>
      <p:sp>
        <p:nvSpPr>
          <p:cNvPr id="3" name="Rectangle 2">
            <a:extLst>
              <a:ext uri="{FF2B5EF4-FFF2-40B4-BE49-F238E27FC236}">
                <a16:creationId xmlns:a16="http://schemas.microsoft.com/office/drawing/2014/main" id="{08110DAC-C10B-87F7-FF86-A62832C6CBE2}"/>
              </a:ext>
            </a:extLst>
          </p:cNvPr>
          <p:cNvSpPr/>
          <p:nvPr userDrawn="1"/>
        </p:nvSpPr>
        <p:spPr>
          <a:xfrm>
            <a:off x="3708968" y="158375"/>
            <a:ext cx="4774064" cy="527004"/>
          </a:xfrm>
          <a:prstGeom prst="rect">
            <a:avLst/>
          </a:prstGeom>
        </p:spPr>
        <p:txBody>
          <a:bodyPr wrap="none">
            <a:spAutoFit/>
          </a:bodyPr>
          <a:lstStyle/>
          <a:p>
            <a:pPr lvl="0" algn="ctr">
              <a:lnSpc>
                <a:spcPct val="150000"/>
              </a:lnSpc>
            </a:pPr>
            <a:r>
              <a:rPr lang="en-GB" sz="1000" b="0" i="0" spc="300">
                <a:solidFill>
                  <a:schemeClr val="bg1"/>
                </a:solidFill>
                <a:latin typeface="Mylius Modern Light" panose="020B0304020202020204" pitchFamily="34" charset="0"/>
              </a:rPr>
              <a:t>BA DIGITAL</a:t>
            </a:r>
          </a:p>
          <a:p>
            <a:pPr lvl="0" algn="ctr">
              <a:lnSpc>
                <a:spcPct val="150000"/>
              </a:lnSpc>
            </a:pPr>
            <a:r>
              <a:rPr lang="en-GB" sz="1000" b="0" i="0" spc="300">
                <a:solidFill>
                  <a:schemeClr val="bg1"/>
                </a:solidFill>
                <a:latin typeface="Mylius Modern Light" panose="020B0304020202020204" pitchFamily="34" charset="0"/>
              </a:rPr>
              <a:t>INSIGHT &amp; INNOVATION, DATA &amp; AUTOMATION</a:t>
            </a:r>
          </a:p>
        </p:txBody>
      </p:sp>
    </p:spTree>
    <p:extLst>
      <p:ext uri="{BB962C8B-B14F-4D97-AF65-F5344CB8AC3E}">
        <p14:creationId xmlns:p14="http://schemas.microsoft.com/office/powerpoint/2010/main" val="35300090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pic>
        <p:nvPicPr>
          <p:cNvPr id="12" name="Picture 11" descr="Shape, rectangle&#10;&#10;Description automatically generated">
            <a:extLst>
              <a:ext uri="{FF2B5EF4-FFF2-40B4-BE49-F238E27FC236}">
                <a16:creationId xmlns:a16="http://schemas.microsoft.com/office/drawing/2014/main" id="{15350861-E692-8CF1-756E-27A18EFFC8D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sp>
        <p:nvSpPr>
          <p:cNvPr id="2" name="Title 1">
            <a:extLst>
              <a:ext uri="{FF2B5EF4-FFF2-40B4-BE49-F238E27FC236}">
                <a16:creationId xmlns:a16="http://schemas.microsoft.com/office/drawing/2014/main" id="{DE90CDB1-23E8-FECF-8C5F-E9EB47BC14D3}"/>
              </a:ext>
            </a:extLst>
          </p:cNvPr>
          <p:cNvSpPr>
            <a:spLocks noGrp="1"/>
          </p:cNvSpPr>
          <p:nvPr>
            <p:ph type="ctrTitle" hasCustomPrompt="1"/>
          </p:nvPr>
        </p:nvSpPr>
        <p:spPr>
          <a:xfrm>
            <a:off x="371475" y="2619351"/>
            <a:ext cx="5407269" cy="2387600"/>
          </a:xfrm>
          <a:prstGeom prst="rect">
            <a:avLst/>
          </a:prstGeom>
        </p:spPr>
        <p:txBody>
          <a:bodyPr anchor="ctr">
            <a:normAutofit/>
          </a:bodyPr>
          <a:lstStyle>
            <a:lvl1pPr algn="l">
              <a:defRPr sz="4800" b="1" i="0" spc="600">
                <a:ln w="22225">
                  <a:noFill/>
                </a:ln>
                <a:solidFill>
                  <a:schemeClr val="bg1"/>
                </a:solidFill>
                <a:latin typeface="Mylius Modern" panose="020B0504020202020204" pitchFamily="34" charset="0"/>
              </a:defRPr>
            </a:lvl1pPr>
          </a:lstStyle>
          <a:p>
            <a:r>
              <a:rPr lang="en-GB"/>
              <a:t>SECTION HEADING</a:t>
            </a:r>
            <a:endParaRPr lang="en-US"/>
          </a:p>
        </p:txBody>
      </p:sp>
      <p:sp>
        <p:nvSpPr>
          <p:cNvPr id="3" name="Subtitle 2">
            <a:extLst>
              <a:ext uri="{FF2B5EF4-FFF2-40B4-BE49-F238E27FC236}">
                <a16:creationId xmlns:a16="http://schemas.microsoft.com/office/drawing/2014/main" id="{90B7B0E9-12AB-A31E-C338-7476BFAFB625}"/>
              </a:ext>
            </a:extLst>
          </p:cNvPr>
          <p:cNvSpPr>
            <a:spLocks noGrp="1"/>
          </p:cNvSpPr>
          <p:nvPr>
            <p:ph type="subTitle" idx="1" hasCustomPrompt="1"/>
          </p:nvPr>
        </p:nvSpPr>
        <p:spPr>
          <a:xfrm>
            <a:off x="371475" y="5627077"/>
            <a:ext cx="5852747" cy="508028"/>
          </a:xfrm>
          <a:prstGeom prst="rect">
            <a:avLst/>
          </a:prstGeom>
        </p:spPr>
        <p:txBody>
          <a:bodyPr anchor="ctr">
            <a:normAutofit/>
          </a:bodyPr>
          <a:lstStyle>
            <a:lvl1pPr marL="0" indent="0" algn="l">
              <a:buNone/>
              <a:defRPr sz="1600" spc="300">
                <a:solidFill>
                  <a:schemeClr val="bg1"/>
                </a:solidFill>
                <a:latin typeface="Mylius Modern" panose="020B05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TextBox 3">
            <a:extLst>
              <a:ext uri="{FF2B5EF4-FFF2-40B4-BE49-F238E27FC236}">
                <a16:creationId xmlns:a16="http://schemas.microsoft.com/office/drawing/2014/main" id="{A0FD07A8-411C-DF34-BA4D-68464EA5B54B}"/>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
        <p:nvSpPr>
          <p:cNvPr id="7" name="TextBox 6">
            <a:extLst>
              <a:ext uri="{FF2B5EF4-FFF2-40B4-BE49-F238E27FC236}">
                <a16:creationId xmlns:a16="http://schemas.microsoft.com/office/drawing/2014/main" id="{DB098A88-1CAF-C159-6A24-8613763FB385}"/>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chemeClr val="bg1"/>
                </a:solidFill>
                <a:latin typeface="Mylius Modern" panose="020B0504020202020204" pitchFamily="34" charset="0"/>
              </a:rPr>
              <a:t>‹#›</a:t>
            </a:fld>
            <a:endParaRPr lang="en-US" sz="700" b="0" i="0" spc="0">
              <a:solidFill>
                <a:schemeClr val="bg1"/>
              </a:solidFill>
              <a:latin typeface="Mylius Modern" panose="020B0504020202020204" pitchFamily="34" charset="0"/>
            </a:endParaRPr>
          </a:p>
        </p:txBody>
      </p:sp>
      <p:pic>
        <p:nvPicPr>
          <p:cNvPr id="6" name="Picture 5" descr="A picture containing person, indoor&#10;&#10;Description automatically generated">
            <a:extLst>
              <a:ext uri="{FF2B5EF4-FFF2-40B4-BE49-F238E27FC236}">
                <a16:creationId xmlns:a16="http://schemas.microsoft.com/office/drawing/2014/main" id="{9000F444-1D2C-3858-0736-086A7444820C}"/>
              </a:ext>
            </a:extLst>
          </p:cNvPr>
          <p:cNvPicPr>
            <a:picLocks noChangeAspect="1"/>
          </p:cNvPicPr>
          <p:nvPr userDrawn="1"/>
        </p:nvPicPr>
        <p:blipFill rotWithShape="1">
          <a:blip r:embed="rId3" cstate="screen">
            <a:alphaModFix amt="17000"/>
            <a:extLst>
              <a:ext uri="{28A0092B-C50C-407E-A947-70E740481C1C}">
                <a14:useLocalDpi xmlns:a14="http://schemas.microsoft.com/office/drawing/2010/main"/>
              </a:ext>
            </a:extLst>
          </a:blip>
          <a:srcRect/>
          <a:stretch/>
        </p:blipFill>
        <p:spPr>
          <a:xfrm>
            <a:off x="0" y="0"/>
            <a:ext cx="12192000" cy="6855257"/>
          </a:xfrm>
          <a:prstGeom prst="rect">
            <a:avLst/>
          </a:prstGeom>
        </p:spPr>
      </p:pic>
      <p:pic>
        <p:nvPicPr>
          <p:cNvPr id="5" name="Picture 4">
            <a:extLst>
              <a:ext uri="{FF2B5EF4-FFF2-40B4-BE49-F238E27FC236}">
                <a16:creationId xmlns:a16="http://schemas.microsoft.com/office/drawing/2014/main" id="{A6A99154-47B9-7894-79B1-B03C87033F51}"/>
              </a:ext>
            </a:extLst>
          </p:cNvPr>
          <p:cNvPicPr>
            <a:picLocks noChangeAspect="1"/>
          </p:cNvPicPr>
          <p:nvPr userDrawn="1"/>
        </p:nvPicPr>
        <p:blipFill>
          <a:blip r:embed="rId4"/>
          <a:stretch>
            <a:fillRect/>
          </a:stretch>
        </p:blipFill>
        <p:spPr>
          <a:xfrm>
            <a:off x="10066300" y="298137"/>
            <a:ext cx="491744" cy="476377"/>
          </a:xfrm>
          <a:prstGeom prst="rect">
            <a:avLst/>
          </a:prstGeom>
        </p:spPr>
      </p:pic>
    </p:spTree>
    <p:extLst>
      <p:ext uri="{BB962C8B-B14F-4D97-AF65-F5344CB8AC3E}">
        <p14:creationId xmlns:p14="http://schemas.microsoft.com/office/powerpoint/2010/main" val="8156647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pic>
        <p:nvPicPr>
          <p:cNvPr id="8" name="Picture 7" descr="A picture containing person, indoor&#10;&#10;Description automatically generated">
            <a:extLst>
              <a:ext uri="{FF2B5EF4-FFF2-40B4-BE49-F238E27FC236}">
                <a16:creationId xmlns:a16="http://schemas.microsoft.com/office/drawing/2014/main" id="{93D804BA-8D46-7699-CC45-F69B85C47F6E}"/>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2" name="Picture 11" descr="Shape, rectangle&#10;&#10;Description automatically generated">
            <a:extLst>
              <a:ext uri="{FF2B5EF4-FFF2-40B4-BE49-F238E27FC236}">
                <a16:creationId xmlns:a16="http://schemas.microsoft.com/office/drawing/2014/main" id="{15350861-E692-8CF1-756E-27A18EFFC8D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sp>
        <p:nvSpPr>
          <p:cNvPr id="2" name="Title 1">
            <a:extLst>
              <a:ext uri="{FF2B5EF4-FFF2-40B4-BE49-F238E27FC236}">
                <a16:creationId xmlns:a16="http://schemas.microsoft.com/office/drawing/2014/main" id="{DE90CDB1-23E8-FECF-8C5F-E9EB47BC14D3}"/>
              </a:ext>
            </a:extLst>
          </p:cNvPr>
          <p:cNvSpPr>
            <a:spLocks noGrp="1"/>
          </p:cNvSpPr>
          <p:nvPr>
            <p:ph type="ctrTitle" hasCustomPrompt="1"/>
          </p:nvPr>
        </p:nvSpPr>
        <p:spPr>
          <a:xfrm>
            <a:off x="371475" y="2619351"/>
            <a:ext cx="5407269" cy="2387600"/>
          </a:xfrm>
          <a:prstGeom prst="rect">
            <a:avLst/>
          </a:prstGeom>
        </p:spPr>
        <p:txBody>
          <a:bodyPr anchor="ctr">
            <a:normAutofit/>
          </a:bodyPr>
          <a:lstStyle>
            <a:lvl1pPr algn="l">
              <a:defRPr sz="4800" b="1" i="0" spc="600">
                <a:ln w="22225">
                  <a:noFill/>
                </a:ln>
                <a:solidFill>
                  <a:schemeClr val="bg1"/>
                </a:solidFill>
                <a:latin typeface="Mylius Modern" panose="020B0504020202020204" pitchFamily="34" charset="0"/>
              </a:defRPr>
            </a:lvl1pPr>
          </a:lstStyle>
          <a:p>
            <a:r>
              <a:rPr lang="en-GB"/>
              <a:t>SECTION HEADING</a:t>
            </a:r>
            <a:endParaRPr lang="en-US"/>
          </a:p>
        </p:txBody>
      </p:sp>
      <p:sp>
        <p:nvSpPr>
          <p:cNvPr id="3" name="Subtitle 2">
            <a:extLst>
              <a:ext uri="{FF2B5EF4-FFF2-40B4-BE49-F238E27FC236}">
                <a16:creationId xmlns:a16="http://schemas.microsoft.com/office/drawing/2014/main" id="{90B7B0E9-12AB-A31E-C338-7476BFAFB625}"/>
              </a:ext>
            </a:extLst>
          </p:cNvPr>
          <p:cNvSpPr>
            <a:spLocks noGrp="1"/>
          </p:cNvSpPr>
          <p:nvPr>
            <p:ph type="subTitle" idx="1" hasCustomPrompt="1"/>
          </p:nvPr>
        </p:nvSpPr>
        <p:spPr>
          <a:xfrm>
            <a:off x="371475" y="5627077"/>
            <a:ext cx="5852747" cy="508028"/>
          </a:xfrm>
          <a:prstGeom prst="rect">
            <a:avLst/>
          </a:prstGeom>
        </p:spPr>
        <p:txBody>
          <a:bodyPr anchor="ctr">
            <a:normAutofit/>
          </a:bodyPr>
          <a:lstStyle>
            <a:lvl1pPr marL="0" indent="0" algn="l">
              <a:buNone/>
              <a:defRPr sz="1600" spc="300">
                <a:solidFill>
                  <a:schemeClr val="bg1"/>
                </a:solidFill>
                <a:latin typeface="Mylius Modern" panose="020B05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TextBox 3">
            <a:extLst>
              <a:ext uri="{FF2B5EF4-FFF2-40B4-BE49-F238E27FC236}">
                <a16:creationId xmlns:a16="http://schemas.microsoft.com/office/drawing/2014/main" id="{A0FD07A8-411C-DF34-BA4D-68464EA5B54B}"/>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
        <p:nvSpPr>
          <p:cNvPr id="7" name="TextBox 6">
            <a:extLst>
              <a:ext uri="{FF2B5EF4-FFF2-40B4-BE49-F238E27FC236}">
                <a16:creationId xmlns:a16="http://schemas.microsoft.com/office/drawing/2014/main" id="{DB098A88-1CAF-C159-6A24-8613763FB385}"/>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chemeClr val="bg1"/>
                </a:solidFill>
                <a:latin typeface="Mylius Modern" panose="020B0504020202020204" pitchFamily="34" charset="0"/>
              </a:rPr>
              <a:t>‹#›</a:t>
            </a:fld>
            <a:endParaRPr lang="en-US" sz="700" b="0" i="0" spc="0">
              <a:solidFill>
                <a:schemeClr val="bg1"/>
              </a:solidFill>
              <a:latin typeface="Mylius Modern" panose="020B0504020202020204" pitchFamily="34" charset="0"/>
            </a:endParaRPr>
          </a:p>
        </p:txBody>
      </p:sp>
      <p:pic>
        <p:nvPicPr>
          <p:cNvPr id="5" name="Picture 4">
            <a:extLst>
              <a:ext uri="{FF2B5EF4-FFF2-40B4-BE49-F238E27FC236}">
                <a16:creationId xmlns:a16="http://schemas.microsoft.com/office/drawing/2014/main" id="{6B68D853-8283-85F9-9BF2-1566D645BF38}"/>
              </a:ext>
            </a:extLst>
          </p:cNvPr>
          <p:cNvPicPr>
            <a:picLocks noChangeAspect="1"/>
          </p:cNvPicPr>
          <p:nvPr userDrawn="1"/>
        </p:nvPicPr>
        <p:blipFill>
          <a:blip r:embed="rId4"/>
          <a:stretch>
            <a:fillRect/>
          </a:stretch>
        </p:blipFill>
        <p:spPr>
          <a:xfrm>
            <a:off x="10066300" y="298137"/>
            <a:ext cx="491744" cy="476377"/>
          </a:xfrm>
          <a:prstGeom prst="rect">
            <a:avLst/>
          </a:prstGeom>
        </p:spPr>
      </p:pic>
    </p:spTree>
    <p:extLst>
      <p:ext uri="{BB962C8B-B14F-4D97-AF65-F5344CB8AC3E}">
        <p14:creationId xmlns:p14="http://schemas.microsoft.com/office/powerpoint/2010/main" val="33295382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pic>
        <p:nvPicPr>
          <p:cNvPr id="6" name="Picture 5" descr="A large airplane flying in the sky&#10;&#10;Description automatically generated with medium confidence">
            <a:extLst>
              <a:ext uri="{FF2B5EF4-FFF2-40B4-BE49-F238E27FC236}">
                <a16:creationId xmlns:a16="http://schemas.microsoft.com/office/drawing/2014/main" id="{554621B3-2AD0-11E1-0273-658574C76FB0}"/>
              </a:ext>
            </a:extLst>
          </p:cNvPr>
          <p:cNvPicPr>
            <a:picLocks noChangeAspect="1"/>
          </p:cNvPicPr>
          <p:nvPr userDrawn="1"/>
        </p:nvPicPr>
        <p:blipFill rotWithShape="1">
          <a:blip r:embed="rId2" cstate="screen">
            <a:alphaModFix amt="37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2" name="Picture 11" descr="Shape, rectangle&#10;&#10;Description automatically generated">
            <a:extLst>
              <a:ext uri="{FF2B5EF4-FFF2-40B4-BE49-F238E27FC236}">
                <a16:creationId xmlns:a16="http://schemas.microsoft.com/office/drawing/2014/main" id="{15350861-E692-8CF1-756E-27A18EFFC8D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sp>
        <p:nvSpPr>
          <p:cNvPr id="2" name="Title 1">
            <a:extLst>
              <a:ext uri="{FF2B5EF4-FFF2-40B4-BE49-F238E27FC236}">
                <a16:creationId xmlns:a16="http://schemas.microsoft.com/office/drawing/2014/main" id="{DE90CDB1-23E8-FECF-8C5F-E9EB47BC14D3}"/>
              </a:ext>
            </a:extLst>
          </p:cNvPr>
          <p:cNvSpPr>
            <a:spLocks noGrp="1"/>
          </p:cNvSpPr>
          <p:nvPr>
            <p:ph type="ctrTitle" hasCustomPrompt="1"/>
          </p:nvPr>
        </p:nvSpPr>
        <p:spPr>
          <a:xfrm>
            <a:off x="371475" y="2619351"/>
            <a:ext cx="5407269" cy="2387600"/>
          </a:xfrm>
          <a:prstGeom prst="rect">
            <a:avLst/>
          </a:prstGeom>
        </p:spPr>
        <p:txBody>
          <a:bodyPr anchor="ctr">
            <a:normAutofit/>
          </a:bodyPr>
          <a:lstStyle>
            <a:lvl1pPr algn="l">
              <a:defRPr sz="4800" b="1" i="0" spc="600">
                <a:ln w="22225">
                  <a:noFill/>
                </a:ln>
                <a:solidFill>
                  <a:schemeClr val="bg1"/>
                </a:solidFill>
                <a:latin typeface="Mylius Modern" panose="020B0504020202020204" pitchFamily="34" charset="0"/>
              </a:defRPr>
            </a:lvl1pPr>
          </a:lstStyle>
          <a:p>
            <a:r>
              <a:rPr lang="en-GB"/>
              <a:t>SECTION HEADING</a:t>
            </a:r>
            <a:endParaRPr lang="en-US"/>
          </a:p>
        </p:txBody>
      </p:sp>
      <p:sp>
        <p:nvSpPr>
          <p:cNvPr id="3" name="Subtitle 2">
            <a:extLst>
              <a:ext uri="{FF2B5EF4-FFF2-40B4-BE49-F238E27FC236}">
                <a16:creationId xmlns:a16="http://schemas.microsoft.com/office/drawing/2014/main" id="{90B7B0E9-12AB-A31E-C338-7476BFAFB625}"/>
              </a:ext>
            </a:extLst>
          </p:cNvPr>
          <p:cNvSpPr>
            <a:spLocks noGrp="1"/>
          </p:cNvSpPr>
          <p:nvPr>
            <p:ph type="subTitle" idx="1" hasCustomPrompt="1"/>
          </p:nvPr>
        </p:nvSpPr>
        <p:spPr>
          <a:xfrm>
            <a:off x="371475" y="5627077"/>
            <a:ext cx="5852747" cy="508028"/>
          </a:xfrm>
          <a:prstGeom prst="rect">
            <a:avLst/>
          </a:prstGeom>
        </p:spPr>
        <p:txBody>
          <a:bodyPr anchor="ctr">
            <a:normAutofit/>
          </a:bodyPr>
          <a:lstStyle>
            <a:lvl1pPr marL="0" indent="0" algn="l">
              <a:buNone/>
              <a:defRPr sz="1600" spc="300">
                <a:solidFill>
                  <a:schemeClr val="bg1"/>
                </a:solidFill>
                <a:latin typeface="Mylius Modern" panose="020B05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TextBox 3">
            <a:extLst>
              <a:ext uri="{FF2B5EF4-FFF2-40B4-BE49-F238E27FC236}">
                <a16:creationId xmlns:a16="http://schemas.microsoft.com/office/drawing/2014/main" id="{A0FD07A8-411C-DF34-BA4D-68464EA5B54B}"/>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
        <p:nvSpPr>
          <p:cNvPr id="7" name="TextBox 6">
            <a:extLst>
              <a:ext uri="{FF2B5EF4-FFF2-40B4-BE49-F238E27FC236}">
                <a16:creationId xmlns:a16="http://schemas.microsoft.com/office/drawing/2014/main" id="{DB098A88-1CAF-C159-6A24-8613763FB385}"/>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chemeClr val="bg1"/>
                </a:solidFill>
                <a:latin typeface="Mylius Modern" panose="020B0504020202020204" pitchFamily="34" charset="0"/>
              </a:rPr>
              <a:t>‹#›</a:t>
            </a:fld>
            <a:endParaRPr lang="en-US" sz="700" b="0" i="0" spc="0">
              <a:solidFill>
                <a:schemeClr val="bg1"/>
              </a:solidFill>
              <a:latin typeface="Mylius Modern" panose="020B0504020202020204" pitchFamily="34" charset="0"/>
            </a:endParaRPr>
          </a:p>
        </p:txBody>
      </p:sp>
      <p:pic>
        <p:nvPicPr>
          <p:cNvPr id="5" name="Picture 4">
            <a:extLst>
              <a:ext uri="{FF2B5EF4-FFF2-40B4-BE49-F238E27FC236}">
                <a16:creationId xmlns:a16="http://schemas.microsoft.com/office/drawing/2014/main" id="{12CB6AF8-E775-EE27-7977-D244FC755BCF}"/>
              </a:ext>
            </a:extLst>
          </p:cNvPr>
          <p:cNvPicPr>
            <a:picLocks noChangeAspect="1"/>
          </p:cNvPicPr>
          <p:nvPr userDrawn="1"/>
        </p:nvPicPr>
        <p:blipFill>
          <a:blip r:embed="rId4"/>
          <a:stretch>
            <a:fillRect/>
          </a:stretch>
        </p:blipFill>
        <p:spPr>
          <a:xfrm>
            <a:off x="10066300" y="298137"/>
            <a:ext cx="491744" cy="476377"/>
          </a:xfrm>
          <a:prstGeom prst="rect">
            <a:avLst/>
          </a:prstGeom>
        </p:spPr>
      </p:pic>
    </p:spTree>
    <p:extLst>
      <p:ext uri="{BB962C8B-B14F-4D97-AF65-F5344CB8AC3E}">
        <p14:creationId xmlns:p14="http://schemas.microsoft.com/office/powerpoint/2010/main" val="22687813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0_Title and Content">
    <p:spTree>
      <p:nvGrpSpPr>
        <p:cNvPr id="1" name=""/>
        <p:cNvGrpSpPr/>
        <p:nvPr/>
      </p:nvGrpSpPr>
      <p:grpSpPr>
        <a:xfrm>
          <a:off x="0" y="0"/>
          <a:ext cx="0" cy="0"/>
          <a:chOff x="0" y="0"/>
          <a:chExt cx="0" cy="0"/>
        </a:xfrm>
      </p:grpSpPr>
      <p:pic>
        <p:nvPicPr>
          <p:cNvPr id="8" name="Picture 7" descr="A large airplane flying in the sky&#10;&#10;Description automatically generated with medium confidence">
            <a:extLst>
              <a:ext uri="{FF2B5EF4-FFF2-40B4-BE49-F238E27FC236}">
                <a16:creationId xmlns:a16="http://schemas.microsoft.com/office/drawing/2014/main" id="{07F66B0C-439E-7B8D-061C-C35B21A9C046}"/>
              </a:ext>
            </a:extLst>
          </p:cNvPr>
          <p:cNvPicPr>
            <a:picLocks noChangeAspect="1"/>
          </p:cNvPicPr>
          <p:nvPr userDrawn="1"/>
        </p:nvPicPr>
        <p:blipFill rotWithShape="1">
          <a:blip r:embed="rId2" cstate="screen">
            <a:alphaModFix amt="25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2" name="Picture 11" descr="Shape, rectangle&#10;&#10;Description automatically generated">
            <a:extLst>
              <a:ext uri="{FF2B5EF4-FFF2-40B4-BE49-F238E27FC236}">
                <a16:creationId xmlns:a16="http://schemas.microsoft.com/office/drawing/2014/main" id="{15350861-E692-8CF1-756E-27A18EFFC8D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sp>
        <p:nvSpPr>
          <p:cNvPr id="2" name="Title 1">
            <a:extLst>
              <a:ext uri="{FF2B5EF4-FFF2-40B4-BE49-F238E27FC236}">
                <a16:creationId xmlns:a16="http://schemas.microsoft.com/office/drawing/2014/main" id="{DE90CDB1-23E8-FECF-8C5F-E9EB47BC14D3}"/>
              </a:ext>
            </a:extLst>
          </p:cNvPr>
          <p:cNvSpPr>
            <a:spLocks noGrp="1"/>
          </p:cNvSpPr>
          <p:nvPr>
            <p:ph type="ctrTitle" hasCustomPrompt="1"/>
          </p:nvPr>
        </p:nvSpPr>
        <p:spPr>
          <a:xfrm>
            <a:off x="371475" y="2619351"/>
            <a:ext cx="5407269" cy="2387600"/>
          </a:xfrm>
          <a:prstGeom prst="rect">
            <a:avLst/>
          </a:prstGeom>
        </p:spPr>
        <p:txBody>
          <a:bodyPr anchor="ctr">
            <a:normAutofit/>
          </a:bodyPr>
          <a:lstStyle>
            <a:lvl1pPr algn="l">
              <a:defRPr sz="4800" b="1" i="0" spc="600">
                <a:ln w="22225">
                  <a:noFill/>
                </a:ln>
                <a:solidFill>
                  <a:schemeClr val="bg1"/>
                </a:solidFill>
                <a:latin typeface="Mylius Modern" panose="020B0504020202020204" pitchFamily="34" charset="0"/>
              </a:defRPr>
            </a:lvl1pPr>
          </a:lstStyle>
          <a:p>
            <a:r>
              <a:rPr lang="en-GB"/>
              <a:t>SECTION HEADING</a:t>
            </a:r>
            <a:endParaRPr lang="en-US"/>
          </a:p>
        </p:txBody>
      </p:sp>
      <p:sp>
        <p:nvSpPr>
          <p:cNvPr id="3" name="Subtitle 2">
            <a:extLst>
              <a:ext uri="{FF2B5EF4-FFF2-40B4-BE49-F238E27FC236}">
                <a16:creationId xmlns:a16="http://schemas.microsoft.com/office/drawing/2014/main" id="{90B7B0E9-12AB-A31E-C338-7476BFAFB625}"/>
              </a:ext>
            </a:extLst>
          </p:cNvPr>
          <p:cNvSpPr>
            <a:spLocks noGrp="1"/>
          </p:cNvSpPr>
          <p:nvPr>
            <p:ph type="subTitle" idx="1" hasCustomPrompt="1"/>
          </p:nvPr>
        </p:nvSpPr>
        <p:spPr>
          <a:xfrm>
            <a:off x="371475" y="5627077"/>
            <a:ext cx="5852747" cy="508028"/>
          </a:xfrm>
          <a:prstGeom prst="rect">
            <a:avLst/>
          </a:prstGeom>
        </p:spPr>
        <p:txBody>
          <a:bodyPr anchor="ctr">
            <a:normAutofit/>
          </a:bodyPr>
          <a:lstStyle>
            <a:lvl1pPr marL="0" indent="0" algn="l">
              <a:buNone/>
              <a:defRPr sz="1600" spc="300">
                <a:solidFill>
                  <a:schemeClr val="bg1"/>
                </a:solidFill>
                <a:latin typeface="Mylius Modern" panose="020B05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TextBox 3">
            <a:extLst>
              <a:ext uri="{FF2B5EF4-FFF2-40B4-BE49-F238E27FC236}">
                <a16:creationId xmlns:a16="http://schemas.microsoft.com/office/drawing/2014/main" id="{A0FD07A8-411C-DF34-BA4D-68464EA5B54B}"/>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
        <p:nvSpPr>
          <p:cNvPr id="7" name="TextBox 6">
            <a:extLst>
              <a:ext uri="{FF2B5EF4-FFF2-40B4-BE49-F238E27FC236}">
                <a16:creationId xmlns:a16="http://schemas.microsoft.com/office/drawing/2014/main" id="{DB098A88-1CAF-C159-6A24-8613763FB385}"/>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chemeClr val="bg1"/>
                </a:solidFill>
                <a:latin typeface="Mylius Modern" panose="020B0504020202020204" pitchFamily="34" charset="0"/>
              </a:rPr>
              <a:t>‹#›</a:t>
            </a:fld>
            <a:endParaRPr lang="en-US" sz="700" b="0" i="0" spc="0">
              <a:solidFill>
                <a:schemeClr val="bg1"/>
              </a:solidFill>
              <a:latin typeface="Mylius Modern" panose="020B0504020202020204" pitchFamily="34" charset="0"/>
            </a:endParaRPr>
          </a:p>
        </p:txBody>
      </p:sp>
      <p:pic>
        <p:nvPicPr>
          <p:cNvPr id="5" name="Picture 4">
            <a:extLst>
              <a:ext uri="{FF2B5EF4-FFF2-40B4-BE49-F238E27FC236}">
                <a16:creationId xmlns:a16="http://schemas.microsoft.com/office/drawing/2014/main" id="{313F7F45-A07C-C25D-DD8D-6A32B33AB636}"/>
              </a:ext>
            </a:extLst>
          </p:cNvPr>
          <p:cNvPicPr>
            <a:picLocks noChangeAspect="1"/>
          </p:cNvPicPr>
          <p:nvPr userDrawn="1"/>
        </p:nvPicPr>
        <p:blipFill>
          <a:blip r:embed="rId4"/>
          <a:stretch>
            <a:fillRect/>
          </a:stretch>
        </p:blipFill>
        <p:spPr>
          <a:xfrm>
            <a:off x="10066300" y="298137"/>
            <a:ext cx="491744" cy="476377"/>
          </a:xfrm>
          <a:prstGeom prst="rect">
            <a:avLst/>
          </a:prstGeom>
        </p:spPr>
      </p:pic>
    </p:spTree>
    <p:extLst>
      <p:ext uri="{BB962C8B-B14F-4D97-AF65-F5344CB8AC3E}">
        <p14:creationId xmlns:p14="http://schemas.microsoft.com/office/powerpoint/2010/main" val="26639787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pic>
        <p:nvPicPr>
          <p:cNvPr id="2" name="Picture 1" descr="Shape, rectangle&#10;&#10;Description automatically generated">
            <a:extLst>
              <a:ext uri="{FF2B5EF4-FFF2-40B4-BE49-F238E27FC236}">
                <a16:creationId xmlns:a16="http://schemas.microsoft.com/office/drawing/2014/main" id="{7B41A071-CC70-A26A-D652-65CCA4FD0F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sp>
        <p:nvSpPr>
          <p:cNvPr id="12" name="TextBox 11">
            <a:extLst>
              <a:ext uri="{FF2B5EF4-FFF2-40B4-BE49-F238E27FC236}">
                <a16:creationId xmlns:a16="http://schemas.microsoft.com/office/drawing/2014/main" id="{144F308E-DA14-91D7-503A-94B7DE8ECBF4}"/>
              </a:ext>
            </a:extLst>
          </p:cNvPr>
          <p:cNvSpPr txBox="1"/>
          <p:nvPr userDrawn="1"/>
        </p:nvSpPr>
        <p:spPr>
          <a:xfrm>
            <a:off x="0" y="6655203"/>
            <a:ext cx="4639456" cy="200055"/>
          </a:xfrm>
          <a:prstGeom prst="rect">
            <a:avLst/>
          </a:prstGeom>
          <a:noFill/>
        </p:spPr>
        <p:txBody>
          <a:bodyPr wrap="square" rtlCol="0">
            <a:spAutoFit/>
          </a:bodyPr>
          <a:lstStyle/>
          <a:p>
            <a:pPr marL="0" indent="0">
              <a:buFont typeface="Arial" panose="020B0604020202020204" pitchFamily="34" charset="0"/>
              <a:buNone/>
            </a:pPr>
            <a:r>
              <a:rPr lang="en-US" sz="700" b="0" i="0" spc="0">
                <a:solidFill>
                  <a:schemeClr val="bg1"/>
                </a:solidFill>
                <a:latin typeface="Mylius Modern" panose="020B0504020202020204" pitchFamily="34" charset="0"/>
              </a:rPr>
              <a:t>INFORMATION FOR BRITISH AIRWAYS INTERNAL USE ONLY</a:t>
            </a:r>
          </a:p>
        </p:txBody>
      </p:sp>
      <p:sp>
        <p:nvSpPr>
          <p:cNvPr id="4" name="Text Placeholder 4">
            <a:extLst>
              <a:ext uri="{FF2B5EF4-FFF2-40B4-BE49-F238E27FC236}">
                <a16:creationId xmlns:a16="http://schemas.microsoft.com/office/drawing/2014/main" id="{1FAD25A5-8400-88ED-8819-88866917FBB4}"/>
              </a:ext>
            </a:extLst>
          </p:cNvPr>
          <p:cNvSpPr>
            <a:spLocks noGrp="1"/>
          </p:cNvSpPr>
          <p:nvPr>
            <p:ph type="body" sz="quarter" idx="14"/>
          </p:nvPr>
        </p:nvSpPr>
        <p:spPr>
          <a:xfrm>
            <a:off x="456600" y="1601014"/>
            <a:ext cx="11278200" cy="432000"/>
          </a:xfrm>
          <a:prstGeom prst="rect">
            <a:avLst/>
          </a:prstGeom>
          <a:solidFill>
            <a:srgbClr val="E37A76"/>
          </a:solidFill>
        </p:spPr>
        <p:txBody>
          <a:bodyPr lIns="468000" anchor="ctr" anchorCtr="0"/>
          <a:lstStyle>
            <a:lvl1pPr marL="0" indent="0">
              <a:lnSpc>
                <a:spcPct val="100000"/>
              </a:lnSpc>
              <a:buNone/>
              <a:defRPr sz="1800" b="0" cap="all" baseline="0">
                <a:solidFill>
                  <a:schemeClr val="bg1"/>
                </a:solidFill>
                <a:latin typeface="Mylius Modern" panose="020B0504020202020204" pitchFamily="34" charset="0"/>
              </a:defRPr>
            </a:lvl1pPr>
          </a:lstStyle>
          <a:p>
            <a:pPr lvl="0"/>
            <a:r>
              <a:rPr lang="en-GB"/>
              <a:t>Click to edit Master text styles</a:t>
            </a:r>
          </a:p>
        </p:txBody>
      </p:sp>
      <p:sp>
        <p:nvSpPr>
          <p:cNvPr id="7" name="Text Placeholder 4">
            <a:extLst>
              <a:ext uri="{FF2B5EF4-FFF2-40B4-BE49-F238E27FC236}">
                <a16:creationId xmlns:a16="http://schemas.microsoft.com/office/drawing/2014/main" id="{F487E581-52BC-3924-36FC-1438A8F38514}"/>
              </a:ext>
            </a:extLst>
          </p:cNvPr>
          <p:cNvSpPr>
            <a:spLocks noGrp="1"/>
          </p:cNvSpPr>
          <p:nvPr>
            <p:ph type="body" sz="quarter" idx="15"/>
          </p:nvPr>
        </p:nvSpPr>
        <p:spPr>
          <a:xfrm>
            <a:off x="456600" y="3408243"/>
            <a:ext cx="11278200" cy="432000"/>
          </a:xfrm>
          <a:prstGeom prst="rect">
            <a:avLst/>
          </a:prstGeom>
          <a:noFill/>
        </p:spPr>
        <p:txBody>
          <a:bodyPr vert="horz" lIns="468000" tIns="45720" rIns="91440" bIns="45720" rtlCol="0" anchor="ctr" anchorCtr="0">
            <a:noAutofit/>
          </a:bodyPr>
          <a:lstStyle>
            <a:lvl1pPr marL="0" indent="0">
              <a:lnSpc>
                <a:spcPct val="100000"/>
              </a:lnSpc>
              <a:buNone/>
              <a:defRPr lang="en-US" sz="1800" b="0" cap="all" baseline="0" dirty="0" smtClean="0">
                <a:solidFill>
                  <a:schemeClr val="bg1"/>
                </a:solidFill>
                <a:latin typeface="Mylius Modern" panose="020B0504020202020204" pitchFamily="34" charset="0"/>
              </a:defRPr>
            </a:lvl1pPr>
          </a:lstStyle>
          <a:p>
            <a:pPr lvl="0"/>
            <a:r>
              <a:rPr lang="en-GB"/>
              <a:t>Click to edit Master text styles</a:t>
            </a:r>
          </a:p>
        </p:txBody>
      </p:sp>
      <p:sp>
        <p:nvSpPr>
          <p:cNvPr id="8" name="Text Placeholder 4">
            <a:extLst>
              <a:ext uri="{FF2B5EF4-FFF2-40B4-BE49-F238E27FC236}">
                <a16:creationId xmlns:a16="http://schemas.microsoft.com/office/drawing/2014/main" id="{AFDFF40D-65BB-6214-066A-C3677DB43261}"/>
              </a:ext>
            </a:extLst>
          </p:cNvPr>
          <p:cNvSpPr>
            <a:spLocks noGrp="1"/>
          </p:cNvSpPr>
          <p:nvPr>
            <p:ph type="body" sz="quarter" idx="16"/>
          </p:nvPr>
        </p:nvSpPr>
        <p:spPr>
          <a:xfrm>
            <a:off x="456600" y="4026277"/>
            <a:ext cx="11278200" cy="432000"/>
          </a:xfrm>
          <a:prstGeom prst="rect">
            <a:avLst/>
          </a:prstGeom>
          <a:noFill/>
        </p:spPr>
        <p:txBody>
          <a:bodyPr vert="horz" lIns="468000" tIns="45720" rIns="91440" bIns="45720" rtlCol="0" anchor="ctr" anchorCtr="0">
            <a:noAutofit/>
          </a:bodyPr>
          <a:lstStyle>
            <a:lvl1pPr marL="0" indent="0">
              <a:lnSpc>
                <a:spcPct val="100000"/>
              </a:lnSpc>
              <a:buNone/>
              <a:defRPr lang="en-US" sz="1800" b="0" cap="all" baseline="0" dirty="0" smtClean="0">
                <a:solidFill>
                  <a:schemeClr val="bg1"/>
                </a:solidFill>
                <a:latin typeface="Mylius Modern" panose="020B0504020202020204" pitchFamily="34" charset="0"/>
              </a:defRPr>
            </a:lvl1pPr>
          </a:lstStyle>
          <a:p>
            <a:pPr lvl="0"/>
            <a:r>
              <a:rPr lang="en-GB"/>
              <a:t>Click to edit Master text styles</a:t>
            </a:r>
          </a:p>
        </p:txBody>
      </p:sp>
      <p:sp>
        <p:nvSpPr>
          <p:cNvPr id="9" name="Text Placeholder 4">
            <a:extLst>
              <a:ext uri="{FF2B5EF4-FFF2-40B4-BE49-F238E27FC236}">
                <a16:creationId xmlns:a16="http://schemas.microsoft.com/office/drawing/2014/main" id="{5D81A3AD-432E-D9A9-977E-125D4BFEFCAA}"/>
              </a:ext>
            </a:extLst>
          </p:cNvPr>
          <p:cNvSpPr>
            <a:spLocks noGrp="1"/>
          </p:cNvSpPr>
          <p:nvPr>
            <p:ph type="body" sz="quarter" idx="17"/>
          </p:nvPr>
        </p:nvSpPr>
        <p:spPr>
          <a:xfrm>
            <a:off x="456600" y="4644311"/>
            <a:ext cx="11278200" cy="432000"/>
          </a:xfrm>
          <a:prstGeom prst="rect">
            <a:avLst/>
          </a:prstGeom>
          <a:noFill/>
        </p:spPr>
        <p:txBody>
          <a:bodyPr vert="horz" lIns="468000" tIns="45720" rIns="91440" bIns="45720" rtlCol="0" anchor="ctr" anchorCtr="0">
            <a:noAutofit/>
          </a:bodyPr>
          <a:lstStyle>
            <a:lvl1pPr marL="0" indent="0">
              <a:lnSpc>
                <a:spcPct val="100000"/>
              </a:lnSpc>
              <a:buNone/>
              <a:defRPr lang="en-US" sz="1800" b="0" cap="all" baseline="0" dirty="0" smtClean="0">
                <a:solidFill>
                  <a:schemeClr val="bg1"/>
                </a:solidFill>
                <a:latin typeface="Mylius Modern" panose="020B0504020202020204" pitchFamily="34" charset="0"/>
              </a:defRPr>
            </a:lvl1pPr>
          </a:lstStyle>
          <a:p>
            <a:pPr lvl="0"/>
            <a:r>
              <a:rPr lang="en-GB"/>
              <a:t>Click to edit Master text styles</a:t>
            </a:r>
          </a:p>
        </p:txBody>
      </p:sp>
      <p:sp>
        <p:nvSpPr>
          <p:cNvPr id="10" name="Text Placeholder 4">
            <a:extLst>
              <a:ext uri="{FF2B5EF4-FFF2-40B4-BE49-F238E27FC236}">
                <a16:creationId xmlns:a16="http://schemas.microsoft.com/office/drawing/2014/main" id="{246F5960-6F0C-46FA-2229-B7585A876316}"/>
              </a:ext>
            </a:extLst>
          </p:cNvPr>
          <p:cNvSpPr>
            <a:spLocks noGrp="1"/>
          </p:cNvSpPr>
          <p:nvPr>
            <p:ph type="body" sz="quarter" idx="18"/>
          </p:nvPr>
        </p:nvSpPr>
        <p:spPr>
          <a:xfrm>
            <a:off x="456600" y="5262345"/>
            <a:ext cx="11278200" cy="432000"/>
          </a:xfrm>
          <a:prstGeom prst="rect">
            <a:avLst/>
          </a:prstGeom>
          <a:noFill/>
        </p:spPr>
        <p:txBody>
          <a:bodyPr vert="horz" lIns="468000" tIns="45720" rIns="91440" bIns="45720" rtlCol="0" anchor="ctr" anchorCtr="0">
            <a:noAutofit/>
          </a:bodyPr>
          <a:lstStyle>
            <a:lvl1pPr marL="0" indent="0">
              <a:lnSpc>
                <a:spcPct val="100000"/>
              </a:lnSpc>
              <a:buNone/>
              <a:defRPr lang="en-US" sz="1800" b="0" cap="all" baseline="0" dirty="0" smtClean="0">
                <a:solidFill>
                  <a:schemeClr val="bg1"/>
                </a:solidFill>
                <a:latin typeface="Mylius Modern" panose="020B0504020202020204" pitchFamily="34" charset="0"/>
              </a:defRPr>
            </a:lvl1pPr>
          </a:lstStyle>
          <a:p>
            <a:pPr lvl="0"/>
            <a:r>
              <a:rPr lang="en-GB"/>
              <a:t>Click to edit Master text styles</a:t>
            </a:r>
          </a:p>
        </p:txBody>
      </p:sp>
      <p:sp>
        <p:nvSpPr>
          <p:cNvPr id="14" name="Text Placeholder 4">
            <a:extLst>
              <a:ext uri="{FF2B5EF4-FFF2-40B4-BE49-F238E27FC236}">
                <a16:creationId xmlns:a16="http://schemas.microsoft.com/office/drawing/2014/main" id="{320CD52A-0EF4-1BAC-C3E1-BA282866B9FB}"/>
              </a:ext>
            </a:extLst>
          </p:cNvPr>
          <p:cNvSpPr>
            <a:spLocks noGrp="1"/>
          </p:cNvSpPr>
          <p:nvPr>
            <p:ph type="body" sz="quarter" idx="20"/>
          </p:nvPr>
        </p:nvSpPr>
        <p:spPr>
          <a:xfrm>
            <a:off x="456600" y="2804797"/>
            <a:ext cx="11278200" cy="432000"/>
          </a:xfrm>
          <a:prstGeom prst="rect">
            <a:avLst/>
          </a:prstGeom>
          <a:noFill/>
        </p:spPr>
        <p:txBody>
          <a:bodyPr vert="horz" lIns="468000" tIns="45720" rIns="91440" bIns="45720" rtlCol="0" anchor="ctr" anchorCtr="0">
            <a:noAutofit/>
          </a:bodyPr>
          <a:lstStyle>
            <a:lvl1pPr marL="0" indent="0">
              <a:lnSpc>
                <a:spcPct val="100000"/>
              </a:lnSpc>
              <a:buNone/>
              <a:defRPr lang="en-US" sz="1800" b="0" cap="all" baseline="0" dirty="0" smtClean="0">
                <a:solidFill>
                  <a:schemeClr val="bg1"/>
                </a:solidFill>
                <a:latin typeface="Mylius Modern" panose="020B0504020202020204" pitchFamily="34" charset="0"/>
              </a:defRPr>
            </a:lvl1pPr>
          </a:lstStyle>
          <a:p>
            <a:pPr lvl="0"/>
            <a:r>
              <a:rPr lang="en-GB"/>
              <a:t>Click to edit Master text styles</a:t>
            </a:r>
          </a:p>
        </p:txBody>
      </p:sp>
      <p:sp>
        <p:nvSpPr>
          <p:cNvPr id="16" name="Text Placeholder 4">
            <a:extLst>
              <a:ext uri="{FF2B5EF4-FFF2-40B4-BE49-F238E27FC236}">
                <a16:creationId xmlns:a16="http://schemas.microsoft.com/office/drawing/2014/main" id="{F040BE6D-E056-DD0E-7598-BD33D57FA503}"/>
              </a:ext>
            </a:extLst>
          </p:cNvPr>
          <p:cNvSpPr>
            <a:spLocks noGrp="1"/>
          </p:cNvSpPr>
          <p:nvPr>
            <p:ph type="body" sz="quarter" idx="21"/>
          </p:nvPr>
        </p:nvSpPr>
        <p:spPr>
          <a:xfrm>
            <a:off x="456600" y="2204460"/>
            <a:ext cx="11278200" cy="432000"/>
          </a:xfrm>
          <a:prstGeom prst="rect">
            <a:avLst/>
          </a:prstGeom>
          <a:noFill/>
        </p:spPr>
        <p:txBody>
          <a:bodyPr vert="horz" lIns="468000" tIns="45720" rIns="91440" bIns="45720" rtlCol="0" anchor="ctr" anchorCtr="0">
            <a:noAutofit/>
          </a:bodyPr>
          <a:lstStyle>
            <a:lvl1pPr marL="0" indent="0">
              <a:lnSpc>
                <a:spcPct val="100000"/>
              </a:lnSpc>
              <a:buNone/>
              <a:defRPr lang="en-US" sz="1800" b="0" cap="all" baseline="0" dirty="0" smtClean="0">
                <a:solidFill>
                  <a:schemeClr val="bg1"/>
                </a:solidFill>
                <a:latin typeface="Mylius Modern" panose="020B0504020202020204" pitchFamily="34" charset="0"/>
              </a:defRPr>
            </a:lvl1pPr>
          </a:lstStyle>
          <a:p>
            <a:pPr lvl="0"/>
            <a:r>
              <a:rPr lang="en-GB"/>
              <a:t>Click to edit Master text styles</a:t>
            </a:r>
          </a:p>
        </p:txBody>
      </p:sp>
      <p:sp>
        <p:nvSpPr>
          <p:cNvPr id="17" name="Text Placeholder 4">
            <a:extLst>
              <a:ext uri="{FF2B5EF4-FFF2-40B4-BE49-F238E27FC236}">
                <a16:creationId xmlns:a16="http://schemas.microsoft.com/office/drawing/2014/main" id="{C2C9655F-8D0E-9D78-EFF3-F0FE6D577CDE}"/>
              </a:ext>
            </a:extLst>
          </p:cNvPr>
          <p:cNvSpPr>
            <a:spLocks noGrp="1"/>
          </p:cNvSpPr>
          <p:nvPr>
            <p:ph type="body" sz="quarter" idx="22"/>
          </p:nvPr>
        </p:nvSpPr>
        <p:spPr>
          <a:xfrm>
            <a:off x="456600" y="5880379"/>
            <a:ext cx="11278200" cy="432000"/>
          </a:xfrm>
          <a:prstGeom prst="rect">
            <a:avLst/>
          </a:prstGeom>
          <a:noFill/>
        </p:spPr>
        <p:txBody>
          <a:bodyPr vert="horz" lIns="468000" tIns="45720" rIns="91440" bIns="45720" rtlCol="0" anchor="ctr" anchorCtr="0">
            <a:noAutofit/>
          </a:bodyPr>
          <a:lstStyle>
            <a:lvl1pPr marL="0" indent="0">
              <a:lnSpc>
                <a:spcPct val="100000"/>
              </a:lnSpc>
              <a:buNone/>
              <a:defRPr lang="en-US" sz="1800" b="0" cap="all" baseline="0" dirty="0" smtClean="0">
                <a:solidFill>
                  <a:schemeClr val="bg1"/>
                </a:solidFill>
                <a:latin typeface="Mylius Modern" panose="020B0504020202020204" pitchFamily="34" charset="0"/>
              </a:defRPr>
            </a:lvl1pPr>
          </a:lstStyle>
          <a:p>
            <a:pPr lvl="0"/>
            <a:r>
              <a:rPr lang="en-GB"/>
              <a:t>Click to edit Master text styles</a:t>
            </a:r>
          </a:p>
        </p:txBody>
      </p:sp>
      <p:sp>
        <p:nvSpPr>
          <p:cNvPr id="19" name="Title 1">
            <a:extLst>
              <a:ext uri="{FF2B5EF4-FFF2-40B4-BE49-F238E27FC236}">
                <a16:creationId xmlns:a16="http://schemas.microsoft.com/office/drawing/2014/main" id="{234B4684-D45C-9FA4-755E-1D52BF5A09D2}"/>
              </a:ext>
            </a:extLst>
          </p:cNvPr>
          <p:cNvSpPr>
            <a:spLocks noGrp="1"/>
          </p:cNvSpPr>
          <p:nvPr>
            <p:ph type="title" hasCustomPrompt="1"/>
          </p:nvPr>
        </p:nvSpPr>
        <p:spPr>
          <a:xfrm>
            <a:off x="343672" y="298938"/>
            <a:ext cx="9537746" cy="659423"/>
          </a:xfrm>
          <a:prstGeom prst="rect">
            <a:avLst/>
          </a:prstGeom>
        </p:spPr>
        <p:txBody>
          <a:bodyPr/>
          <a:lstStyle>
            <a:lvl1pPr>
              <a:defRPr sz="2000" spc="600">
                <a:solidFill>
                  <a:schemeClr val="bg1"/>
                </a:solidFill>
                <a:latin typeface="Mylius Modern" panose="020B0504020202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19825153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7245236-5B6B-D8F5-E6CB-281617C39098}"/>
              </a:ext>
            </a:extLst>
          </p:cNvPr>
          <p:cNvSpPr/>
          <p:nvPr userDrawn="1"/>
        </p:nvSpPr>
        <p:spPr>
          <a:xfrm rot="10800000">
            <a:off x="0" y="0"/>
            <a:ext cx="12192000" cy="6904383"/>
          </a:xfrm>
          <a:prstGeom prst="rect">
            <a:avLst/>
          </a:prstGeom>
          <a:gradFill>
            <a:gsLst>
              <a:gs pos="0">
                <a:srgbClr val="5F899E"/>
              </a:gs>
              <a:gs pos="40000">
                <a:srgbClr val="0B5574"/>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group of people running on a road&#10;&#10;Description automatically generated with low confidence">
            <a:extLst>
              <a:ext uri="{FF2B5EF4-FFF2-40B4-BE49-F238E27FC236}">
                <a16:creationId xmlns:a16="http://schemas.microsoft.com/office/drawing/2014/main" id="{8D7EFA23-CA97-D2CE-CD6E-65B3B18A4298}"/>
              </a:ext>
            </a:extLst>
          </p:cNvPr>
          <p:cNvPicPr>
            <a:picLocks noChangeAspect="1"/>
          </p:cNvPicPr>
          <p:nvPr userDrawn="1"/>
        </p:nvPicPr>
        <p:blipFill rotWithShape="1">
          <a:blip r:embed="rId2" cstate="screen">
            <a:alphaModFix amt="55000"/>
            <a:extLst>
              <a:ext uri="{28A0092B-C50C-407E-A947-70E740481C1C}">
                <a14:useLocalDpi xmlns:a14="http://schemas.microsoft.com/office/drawing/2010/main"/>
              </a:ext>
            </a:extLst>
          </a:blip>
          <a:srcRect/>
          <a:stretch/>
        </p:blipFill>
        <p:spPr>
          <a:xfrm>
            <a:off x="-2" y="-5"/>
            <a:ext cx="12192002" cy="6904385"/>
          </a:xfrm>
          <a:prstGeom prst="rect">
            <a:avLst/>
          </a:prstGeom>
        </p:spPr>
      </p:pic>
      <p:sp>
        <p:nvSpPr>
          <p:cNvPr id="6" name="Rectangle 5">
            <a:extLst>
              <a:ext uri="{FF2B5EF4-FFF2-40B4-BE49-F238E27FC236}">
                <a16:creationId xmlns:a16="http://schemas.microsoft.com/office/drawing/2014/main" id="{99E30B5C-CA5F-8B8D-6A84-4A0D800B67FB}"/>
              </a:ext>
            </a:extLst>
          </p:cNvPr>
          <p:cNvSpPr/>
          <p:nvPr userDrawn="1"/>
        </p:nvSpPr>
        <p:spPr>
          <a:xfrm rot="10800000">
            <a:off x="5442437" y="0"/>
            <a:ext cx="6749559" cy="6904383"/>
          </a:xfrm>
          <a:prstGeom prst="rect">
            <a:avLst/>
          </a:prstGeom>
          <a:gradFill>
            <a:gsLst>
              <a:gs pos="0">
                <a:schemeClr val="tx1">
                  <a:alpha val="0"/>
                </a:schemeClr>
              </a:gs>
              <a:gs pos="57000">
                <a:srgbClr val="0B5574">
                  <a:alpha val="8661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Shape, rectangle&#10;&#10;Description automatically generated">
            <a:extLst>
              <a:ext uri="{FF2B5EF4-FFF2-40B4-BE49-F238E27FC236}">
                <a16:creationId xmlns:a16="http://schemas.microsoft.com/office/drawing/2014/main" id="{7B41A071-CC70-A26A-D652-65CCA4FD0F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sp>
        <p:nvSpPr>
          <p:cNvPr id="15" name="Title 1">
            <a:extLst>
              <a:ext uri="{FF2B5EF4-FFF2-40B4-BE49-F238E27FC236}">
                <a16:creationId xmlns:a16="http://schemas.microsoft.com/office/drawing/2014/main" id="{38F426DA-95E1-1CC7-4BD1-4BCF15D8095F}"/>
              </a:ext>
            </a:extLst>
          </p:cNvPr>
          <p:cNvSpPr>
            <a:spLocks noGrp="1"/>
          </p:cNvSpPr>
          <p:nvPr>
            <p:ph type="ctrTitle" hasCustomPrompt="1"/>
          </p:nvPr>
        </p:nvSpPr>
        <p:spPr>
          <a:xfrm>
            <a:off x="6096000" y="1625889"/>
            <a:ext cx="5085144" cy="3652602"/>
          </a:xfrm>
          <a:prstGeom prst="rect">
            <a:avLst/>
          </a:prstGeom>
        </p:spPr>
        <p:txBody>
          <a:bodyPr anchor="ctr">
            <a:normAutofit/>
          </a:bodyPr>
          <a:lstStyle>
            <a:lvl1pPr algn="ctr">
              <a:lnSpc>
                <a:spcPct val="150000"/>
              </a:lnSpc>
              <a:defRPr sz="1600" b="0" i="0" spc="300">
                <a:ln w="22225">
                  <a:noFill/>
                </a:ln>
                <a:solidFill>
                  <a:schemeClr val="bg1"/>
                </a:solidFill>
                <a:latin typeface="Mylius Modern" panose="020B0504020202020204" pitchFamily="34" charset="0"/>
              </a:defRPr>
            </a:lvl1pPr>
          </a:lstStyle>
          <a:p>
            <a:r>
              <a:rPr lang="en-GB"/>
              <a:t>“INSERT AN INSPIRATIONAL QUOTE HERE”</a:t>
            </a:r>
            <a:endParaRPr lang="en-US"/>
          </a:p>
        </p:txBody>
      </p:sp>
      <p:sp>
        <p:nvSpPr>
          <p:cNvPr id="12" name="TextBox 11">
            <a:extLst>
              <a:ext uri="{FF2B5EF4-FFF2-40B4-BE49-F238E27FC236}">
                <a16:creationId xmlns:a16="http://schemas.microsoft.com/office/drawing/2014/main" id="{144F308E-DA14-91D7-503A-94B7DE8ECBF4}"/>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
        <p:nvSpPr>
          <p:cNvPr id="13" name="TextBox 12">
            <a:extLst>
              <a:ext uri="{FF2B5EF4-FFF2-40B4-BE49-F238E27FC236}">
                <a16:creationId xmlns:a16="http://schemas.microsoft.com/office/drawing/2014/main" id="{B98875BB-DA5A-29A4-6A61-C03BCF742354}"/>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chemeClr val="bg1"/>
                </a:solidFill>
                <a:latin typeface="Mylius Modern" panose="020B0504020202020204" pitchFamily="34" charset="0"/>
              </a:rPr>
              <a:t>‹#›</a:t>
            </a:fld>
            <a:endParaRPr lang="en-US" sz="700" b="0" i="0" spc="0">
              <a:solidFill>
                <a:schemeClr val="bg1"/>
              </a:solidFill>
              <a:latin typeface="Mylius Modern" panose="020B0504020202020204" pitchFamily="34" charset="0"/>
            </a:endParaRPr>
          </a:p>
        </p:txBody>
      </p:sp>
      <p:pic>
        <p:nvPicPr>
          <p:cNvPr id="3" name="Picture 2">
            <a:extLst>
              <a:ext uri="{FF2B5EF4-FFF2-40B4-BE49-F238E27FC236}">
                <a16:creationId xmlns:a16="http://schemas.microsoft.com/office/drawing/2014/main" id="{DF2A3E8B-CC4A-4976-0B58-1FD205E5D8F3}"/>
              </a:ext>
            </a:extLst>
          </p:cNvPr>
          <p:cNvPicPr>
            <a:picLocks noChangeAspect="1"/>
          </p:cNvPicPr>
          <p:nvPr userDrawn="1"/>
        </p:nvPicPr>
        <p:blipFill>
          <a:blip r:embed="rId4"/>
          <a:stretch>
            <a:fillRect/>
          </a:stretch>
        </p:blipFill>
        <p:spPr>
          <a:xfrm>
            <a:off x="10066300" y="298137"/>
            <a:ext cx="491744" cy="476377"/>
          </a:xfrm>
          <a:prstGeom prst="rect">
            <a:avLst/>
          </a:prstGeom>
        </p:spPr>
      </p:pic>
    </p:spTree>
    <p:extLst>
      <p:ext uri="{BB962C8B-B14F-4D97-AF65-F5344CB8AC3E}">
        <p14:creationId xmlns:p14="http://schemas.microsoft.com/office/powerpoint/2010/main" val="25222738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7245236-5B6B-D8F5-E6CB-281617C39098}"/>
              </a:ext>
            </a:extLst>
          </p:cNvPr>
          <p:cNvSpPr/>
          <p:nvPr userDrawn="1"/>
        </p:nvSpPr>
        <p:spPr>
          <a:xfrm rot="10800000">
            <a:off x="0" y="0"/>
            <a:ext cx="12192000" cy="6904383"/>
          </a:xfrm>
          <a:prstGeom prst="rect">
            <a:avLst/>
          </a:prstGeom>
          <a:gradFill>
            <a:gsLst>
              <a:gs pos="0">
                <a:srgbClr val="5F899E"/>
              </a:gs>
              <a:gs pos="40000">
                <a:srgbClr val="0B5574"/>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person sitting in a plane&#10;&#10;Description automatically generated with medium confidence">
            <a:extLst>
              <a:ext uri="{FF2B5EF4-FFF2-40B4-BE49-F238E27FC236}">
                <a16:creationId xmlns:a16="http://schemas.microsoft.com/office/drawing/2014/main" id="{02828153-764C-E065-1AC5-2AD62B388761}"/>
              </a:ext>
            </a:extLst>
          </p:cNvPr>
          <p:cNvPicPr>
            <a:picLocks noChangeAspect="1"/>
          </p:cNvPicPr>
          <p:nvPr userDrawn="1"/>
        </p:nvPicPr>
        <p:blipFill rotWithShape="1">
          <a:blip r:embed="rId2" cstate="screen">
            <a:alphaModFix amt="55000"/>
            <a:extLst>
              <a:ext uri="{28A0092B-C50C-407E-A947-70E740481C1C}">
                <a14:useLocalDpi xmlns:a14="http://schemas.microsoft.com/office/drawing/2010/main"/>
              </a:ext>
            </a:extLst>
          </a:blip>
          <a:srcRect/>
          <a:stretch/>
        </p:blipFill>
        <p:spPr>
          <a:xfrm>
            <a:off x="0" y="-2"/>
            <a:ext cx="12192000" cy="6904385"/>
          </a:xfrm>
          <a:prstGeom prst="rect">
            <a:avLst/>
          </a:prstGeom>
        </p:spPr>
      </p:pic>
      <p:sp>
        <p:nvSpPr>
          <p:cNvPr id="6" name="Rectangle 5">
            <a:extLst>
              <a:ext uri="{FF2B5EF4-FFF2-40B4-BE49-F238E27FC236}">
                <a16:creationId xmlns:a16="http://schemas.microsoft.com/office/drawing/2014/main" id="{99E30B5C-CA5F-8B8D-6A84-4A0D800B67FB}"/>
              </a:ext>
            </a:extLst>
          </p:cNvPr>
          <p:cNvSpPr/>
          <p:nvPr userDrawn="1"/>
        </p:nvSpPr>
        <p:spPr>
          <a:xfrm rot="10800000">
            <a:off x="5442437" y="0"/>
            <a:ext cx="6749559" cy="6904383"/>
          </a:xfrm>
          <a:prstGeom prst="rect">
            <a:avLst/>
          </a:prstGeom>
          <a:gradFill>
            <a:gsLst>
              <a:gs pos="0">
                <a:schemeClr val="tx1">
                  <a:alpha val="0"/>
                </a:schemeClr>
              </a:gs>
              <a:gs pos="57000">
                <a:srgbClr val="0B5574">
                  <a:alpha val="8661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Shape, rectangle&#10;&#10;Description automatically generated">
            <a:extLst>
              <a:ext uri="{FF2B5EF4-FFF2-40B4-BE49-F238E27FC236}">
                <a16:creationId xmlns:a16="http://schemas.microsoft.com/office/drawing/2014/main" id="{7B41A071-CC70-A26A-D652-65CCA4FD0F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sp>
        <p:nvSpPr>
          <p:cNvPr id="15" name="Title 1">
            <a:extLst>
              <a:ext uri="{FF2B5EF4-FFF2-40B4-BE49-F238E27FC236}">
                <a16:creationId xmlns:a16="http://schemas.microsoft.com/office/drawing/2014/main" id="{38F426DA-95E1-1CC7-4BD1-4BCF15D8095F}"/>
              </a:ext>
            </a:extLst>
          </p:cNvPr>
          <p:cNvSpPr>
            <a:spLocks noGrp="1"/>
          </p:cNvSpPr>
          <p:nvPr>
            <p:ph type="ctrTitle" hasCustomPrompt="1"/>
          </p:nvPr>
        </p:nvSpPr>
        <p:spPr>
          <a:xfrm>
            <a:off x="6096000" y="1625889"/>
            <a:ext cx="5085144" cy="3652602"/>
          </a:xfrm>
          <a:prstGeom prst="rect">
            <a:avLst/>
          </a:prstGeom>
        </p:spPr>
        <p:txBody>
          <a:bodyPr anchor="ctr">
            <a:normAutofit/>
          </a:bodyPr>
          <a:lstStyle>
            <a:lvl1pPr algn="ctr">
              <a:lnSpc>
                <a:spcPct val="150000"/>
              </a:lnSpc>
              <a:defRPr sz="1600" b="0" i="0" spc="300">
                <a:ln w="22225">
                  <a:noFill/>
                </a:ln>
                <a:solidFill>
                  <a:schemeClr val="bg1"/>
                </a:solidFill>
                <a:latin typeface="Mylius Modern" panose="020B0504020202020204" pitchFamily="34" charset="0"/>
              </a:defRPr>
            </a:lvl1pPr>
          </a:lstStyle>
          <a:p>
            <a:r>
              <a:rPr lang="en-GB"/>
              <a:t>“INSERT AN INSPIRATIONAL QUOTE HERE”</a:t>
            </a:r>
            <a:endParaRPr lang="en-US"/>
          </a:p>
        </p:txBody>
      </p:sp>
      <p:sp>
        <p:nvSpPr>
          <p:cNvPr id="12" name="TextBox 11">
            <a:extLst>
              <a:ext uri="{FF2B5EF4-FFF2-40B4-BE49-F238E27FC236}">
                <a16:creationId xmlns:a16="http://schemas.microsoft.com/office/drawing/2014/main" id="{144F308E-DA14-91D7-503A-94B7DE8ECBF4}"/>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
        <p:nvSpPr>
          <p:cNvPr id="13" name="TextBox 12">
            <a:extLst>
              <a:ext uri="{FF2B5EF4-FFF2-40B4-BE49-F238E27FC236}">
                <a16:creationId xmlns:a16="http://schemas.microsoft.com/office/drawing/2014/main" id="{B98875BB-DA5A-29A4-6A61-C03BCF742354}"/>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chemeClr val="bg1"/>
                </a:solidFill>
                <a:latin typeface="Mylius Modern" panose="020B0504020202020204" pitchFamily="34" charset="0"/>
              </a:rPr>
              <a:t>‹#›</a:t>
            </a:fld>
            <a:endParaRPr lang="en-US" sz="700" b="0" i="0" spc="0">
              <a:solidFill>
                <a:schemeClr val="bg1"/>
              </a:solidFill>
              <a:latin typeface="Mylius Modern" panose="020B0504020202020204" pitchFamily="34" charset="0"/>
            </a:endParaRPr>
          </a:p>
        </p:txBody>
      </p:sp>
      <p:pic>
        <p:nvPicPr>
          <p:cNvPr id="3" name="Picture 2">
            <a:extLst>
              <a:ext uri="{FF2B5EF4-FFF2-40B4-BE49-F238E27FC236}">
                <a16:creationId xmlns:a16="http://schemas.microsoft.com/office/drawing/2014/main" id="{F47D823F-FD42-4CE4-611A-9B68B77559A9}"/>
              </a:ext>
            </a:extLst>
          </p:cNvPr>
          <p:cNvPicPr>
            <a:picLocks noChangeAspect="1"/>
          </p:cNvPicPr>
          <p:nvPr userDrawn="1"/>
        </p:nvPicPr>
        <p:blipFill>
          <a:blip r:embed="rId4"/>
          <a:stretch>
            <a:fillRect/>
          </a:stretch>
        </p:blipFill>
        <p:spPr>
          <a:xfrm>
            <a:off x="10066300" y="298137"/>
            <a:ext cx="491744" cy="476377"/>
          </a:xfrm>
          <a:prstGeom prst="rect">
            <a:avLst/>
          </a:prstGeom>
        </p:spPr>
      </p:pic>
    </p:spTree>
    <p:extLst>
      <p:ext uri="{BB962C8B-B14F-4D97-AF65-F5344CB8AC3E}">
        <p14:creationId xmlns:p14="http://schemas.microsoft.com/office/powerpoint/2010/main" val="22724426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7245236-5B6B-D8F5-E6CB-281617C39098}"/>
              </a:ext>
            </a:extLst>
          </p:cNvPr>
          <p:cNvSpPr/>
          <p:nvPr userDrawn="1"/>
        </p:nvSpPr>
        <p:spPr>
          <a:xfrm rot="10800000">
            <a:off x="0" y="0"/>
            <a:ext cx="12192000" cy="6904383"/>
          </a:xfrm>
          <a:prstGeom prst="rect">
            <a:avLst/>
          </a:prstGeom>
          <a:gradFill>
            <a:gsLst>
              <a:gs pos="0">
                <a:srgbClr val="5F899E"/>
              </a:gs>
              <a:gs pos="40000">
                <a:srgbClr val="0B5574"/>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person in a blue shirt&#10;&#10;Description automatically generated with low confidence">
            <a:extLst>
              <a:ext uri="{FF2B5EF4-FFF2-40B4-BE49-F238E27FC236}">
                <a16:creationId xmlns:a16="http://schemas.microsoft.com/office/drawing/2014/main" id="{27718511-2D9A-315B-8D0C-8DDED2D340F1}"/>
              </a:ext>
            </a:extLst>
          </p:cNvPr>
          <p:cNvPicPr>
            <a:picLocks noChangeAspect="1"/>
          </p:cNvPicPr>
          <p:nvPr userDrawn="1"/>
        </p:nvPicPr>
        <p:blipFill rotWithShape="1">
          <a:blip r:embed="rId2" cstate="screen">
            <a:alphaModFix amt="33000"/>
            <a:extLst>
              <a:ext uri="{28A0092B-C50C-407E-A947-70E740481C1C}">
                <a14:useLocalDpi xmlns:a14="http://schemas.microsoft.com/office/drawing/2010/main"/>
              </a:ext>
            </a:extLst>
          </a:blip>
          <a:srcRect/>
          <a:stretch/>
        </p:blipFill>
        <p:spPr>
          <a:xfrm>
            <a:off x="-2" y="-3"/>
            <a:ext cx="12191998" cy="6904386"/>
          </a:xfrm>
          <a:prstGeom prst="rect">
            <a:avLst/>
          </a:prstGeom>
        </p:spPr>
      </p:pic>
      <p:sp>
        <p:nvSpPr>
          <p:cNvPr id="6" name="Rectangle 5">
            <a:extLst>
              <a:ext uri="{FF2B5EF4-FFF2-40B4-BE49-F238E27FC236}">
                <a16:creationId xmlns:a16="http://schemas.microsoft.com/office/drawing/2014/main" id="{99E30B5C-CA5F-8B8D-6A84-4A0D800B67FB}"/>
              </a:ext>
            </a:extLst>
          </p:cNvPr>
          <p:cNvSpPr/>
          <p:nvPr userDrawn="1"/>
        </p:nvSpPr>
        <p:spPr>
          <a:xfrm rot="10800000">
            <a:off x="5442437" y="0"/>
            <a:ext cx="6749559" cy="6904383"/>
          </a:xfrm>
          <a:prstGeom prst="rect">
            <a:avLst/>
          </a:prstGeom>
          <a:gradFill>
            <a:gsLst>
              <a:gs pos="0">
                <a:schemeClr val="tx1">
                  <a:alpha val="0"/>
                </a:schemeClr>
              </a:gs>
              <a:gs pos="57000">
                <a:srgbClr val="0B5574">
                  <a:alpha val="8661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Shape, rectangle&#10;&#10;Description automatically generated">
            <a:extLst>
              <a:ext uri="{FF2B5EF4-FFF2-40B4-BE49-F238E27FC236}">
                <a16:creationId xmlns:a16="http://schemas.microsoft.com/office/drawing/2014/main" id="{7B41A071-CC70-A26A-D652-65CCA4FD0F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sp>
        <p:nvSpPr>
          <p:cNvPr id="15" name="Title 1">
            <a:extLst>
              <a:ext uri="{FF2B5EF4-FFF2-40B4-BE49-F238E27FC236}">
                <a16:creationId xmlns:a16="http://schemas.microsoft.com/office/drawing/2014/main" id="{38F426DA-95E1-1CC7-4BD1-4BCF15D8095F}"/>
              </a:ext>
            </a:extLst>
          </p:cNvPr>
          <p:cNvSpPr>
            <a:spLocks noGrp="1"/>
          </p:cNvSpPr>
          <p:nvPr>
            <p:ph type="ctrTitle" hasCustomPrompt="1"/>
          </p:nvPr>
        </p:nvSpPr>
        <p:spPr>
          <a:xfrm>
            <a:off x="6096000" y="1625889"/>
            <a:ext cx="5085144" cy="3652602"/>
          </a:xfrm>
          <a:prstGeom prst="rect">
            <a:avLst/>
          </a:prstGeom>
        </p:spPr>
        <p:txBody>
          <a:bodyPr anchor="ctr">
            <a:normAutofit/>
          </a:bodyPr>
          <a:lstStyle>
            <a:lvl1pPr algn="ctr">
              <a:lnSpc>
                <a:spcPct val="150000"/>
              </a:lnSpc>
              <a:defRPr sz="1600" b="0" i="0" spc="300">
                <a:ln w="22225">
                  <a:noFill/>
                </a:ln>
                <a:solidFill>
                  <a:schemeClr val="bg1"/>
                </a:solidFill>
                <a:latin typeface="Mylius Modern" panose="020B0504020202020204" pitchFamily="34" charset="0"/>
              </a:defRPr>
            </a:lvl1pPr>
          </a:lstStyle>
          <a:p>
            <a:r>
              <a:rPr lang="en-GB"/>
              <a:t>“INSERT AN INSPIRATIONAL QUOTE HERE”</a:t>
            </a:r>
            <a:endParaRPr lang="en-US"/>
          </a:p>
        </p:txBody>
      </p:sp>
      <p:sp>
        <p:nvSpPr>
          <p:cNvPr id="12" name="TextBox 11">
            <a:extLst>
              <a:ext uri="{FF2B5EF4-FFF2-40B4-BE49-F238E27FC236}">
                <a16:creationId xmlns:a16="http://schemas.microsoft.com/office/drawing/2014/main" id="{144F308E-DA14-91D7-503A-94B7DE8ECBF4}"/>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
        <p:nvSpPr>
          <p:cNvPr id="13" name="TextBox 12">
            <a:extLst>
              <a:ext uri="{FF2B5EF4-FFF2-40B4-BE49-F238E27FC236}">
                <a16:creationId xmlns:a16="http://schemas.microsoft.com/office/drawing/2014/main" id="{B98875BB-DA5A-29A4-6A61-C03BCF742354}"/>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chemeClr val="bg1"/>
                </a:solidFill>
                <a:latin typeface="Mylius Modern" panose="020B0504020202020204" pitchFamily="34" charset="0"/>
              </a:rPr>
              <a:t>‹#›</a:t>
            </a:fld>
            <a:endParaRPr lang="en-US" sz="700" b="0" i="0" spc="0">
              <a:solidFill>
                <a:schemeClr val="bg1"/>
              </a:solidFill>
              <a:latin typeface="Mylius Modern" panose="020B0504020202020204" pitchFamily="34" charset="0"/>
            </a:endParaRPr>
          </a:p>
        </p:txBody>
      </p:sp>
      <p:pic>
        <p:nvPicPr>
          <p:cNvPr id="3" name="Picture 2">
            <a:extLst>
              <a:ext uri="{FF2B5EF4-FFF2-40B4-BE49-F238E27FC236}">
                <a16:creationId xmlns:a16="http://schemas.microsoft.com/office/drawing/2014/main" id="{B93DB8C5-977D-6AD6-3476-0111FD1E3489}"/>
              </a:ext>
            </a:extLst>
          </p:cNvPr>
          <p:cNvPicPr>
            <a:picLocks noChangeAspect="1"/>
          </p:cNvPicPr>
          <p:nvPr userDrawn="1"/>
        </p:nvPicPr>
        <p:blipFill>
          <a:blip r:embed="rId4"/>
          <a:stretch>
            <a:fillRect/>
          </a:stretch>
        </p:blipFill>
        <p:spPr>
          <a:xfrm>
            <a:off x="10066300" y="298137"/>
            <a:ext cx="491744" cy="476377"/>
          </a:xfrm>
          <a:prstGeom prst="rect">
            <a:avLst/>
          </a:prstGeom>
        </p:spPr>
      </p:pic>
    </p:spTree>
    <p:extLst>
      <p:ext uri="{BB962C8B-B14F-4D97-AF65-F5344CB8AC3E}">
        <p14:creationId xmlns:p14="http://schemas.microsoft.com/office/powerpoint/2010/main" val="2117874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7245236-5B6B-D8F5-E6CB-281617C39098}"/>
              </a:ext>
            </a:extLst>
          </p:cNvPr>
          <p:cNvSpPr/>
          <p:nvPr userDrawn="1"/>
        </p:nvSpPr>
        <p:spPr>
          <a:xfrm rot="10800000">
            <a:off x="0" y="0"/>
            <a:ext cx="12192000" cy="6904383"/>
          </a:xfrm>
          <a:prstGeom prst="rect">
            <a:avLst/>
          </a:prstGeom>
          <a:gradFill>
            <a:gsLst>
              <a:gs pos="0">
                <a:srgbClr val="5F899E"/>
              </a:gs>
              <a:gs pos="40000">
                <a:srgbClr val="0B5574"/>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picture containing outdoor, sky, person, clothing&#10;&#10;Description automatically generated">
            <a:extLst>
              <a:ext uri="{FF2B5EF4-FFF2-40B4-BE49-F238E27FC236}">
                <a16:creationId xmlns:a16="http://schemas.microsoft.com/office/drawing/2014/main" id="{1815FC05-3E68-398C-B4E4-7CBAA2D3DDD2}"/>
              </a:ext>
            </a:extLst>
          </p:cNvPr>
          <p:cNvPicPr>
            <a:picLocks noChangeAspect="1"/>
          </p:cNvPicPr>
          <p:nvPr userDrawn="1"/>
        </p:nvPicPr>
        <p:blipFill rotWithShape="1">
          <a:blip r:embed="rId2" cstate="screen">
            <a:alphaModFix amt="37000"/>
            <a:extLst>
              <a:ext uri="{28A0092B-C50C-407E-A947-70E740481C1C}">
                <a14:useLocalDpi xmlns:a14="http://schemas.microsoft.com/office/drawing/2010/main"/>
              </a:ext>
            </a:extLst>
          </a:blip>
          <a:srcRect/>
          <a:stretch/>
        </p:blipFill>
        <p:spPr>
          <a:xfrm flipH="1">
            <a:off x="-3" y="-1"/>
            <a:ext cx="12191999" cy="6904385"/>
          </a:xfrm>
          <a:prstGeom prst="rect">
            <a:avLst/>
          </a:prstGeom>
        </p:spPr>
      </p:pic>
      <p:sp>
        <p:nvSpPr>
          <p:cNvPr id="6" name="Rectangle 5">
            <a:extLst>
              <a:ext uri="{FF2B5EF4-FFF2-40B4-BE49-F238E27FC236}">
                <a16:creationId xmlns:a16="http://schemas.microsoft.com/office/drawing/2014/main" id="{99E30B5C-CA5F-8B8D-6A84-4A0D800B67FB}"/>
              </a:ext>
            </a:extLst>
          </p:cNvPr>
          <p:cNvSpPr/>
          <p:nvPr userDrawn="1"/>
        </p:nvSpPr>
        <p:spPr>
          <a:xfrm rot="10800000">
            <a:off x="5442437" y="0"/>
            <a:ext cx="6749559" cy="6904383"/>
          </a:xfrm>
          <a:prstGeom prst="rect">
            <a:avLst/>
          </a:prstGeom>
          <a:gradFill>
            <a:gsLst>
              <a:gs pos="0">
                <a:schemeClr val="tx1">
                  <a:alpha val="0"/>
                </a:schemeClr>
              </a:gs>
              <a:gs pos="57000">
                <a:srgbClr val="0B5574">
                  <a:alpha val="8661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Shape, rectangle&#10;&#10;Description automatically generated">
            <a:extLst>
              <a:ext uri="{FF2B5EF4-FFF2-40B4-BE49-F238E27FC236}">
                <a16:creationId xmlns:a16="http://schemas.microsoft.com/office/drawing/2014/main" id="{7B41A071-CC70-A26A-D652-65CCA4FD0F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sp>
        <p:nvSpPr>
          <p:cNvPr id="15" name="Title 1">
            <a:extLst>
              <a:ext uri="{FF2B5EF4-FFF2-40B4-BE49-F238E27FC236}">
                <a16:creationId xmlns:a16="http://schemas.microsoft.com/office/drawing/2014/main" id="{38F426DA-95E1-1CC7-4BD1-4BCF15D8095F}"/>
              </a:ext>
            </a:extLst>
          </p:cNvPr>
          <p:cNvSpPr>
            <a:spLocks noGrp="1"/>
          </p:cNvSpPr>
          <p:nvPr>
            <p:ph type="ctrTitle" hasCustomPrompt="1"/>
          </p:nvPr>
        </p:nvSpPr>
        <p:spPr>
          <a:xfrm>
            <a:off x="6096000" y="1625889"/>
            <a:ext cx="5085144" cy="3652602"/>
          </a:xfrm>
          <a:prstGeom prst="rect">
            <a:avLst/>
          </a:prstGeom>
        </p:spPr>
        <p:txBody>
          <a:bodyPr anchor="ctr">
            <a:normAutofit/>
          </a:bodyPr>
          <a:lstStyle>
            <a:lvl1pPr algn="ctr">
              <a:lnSpc>
                <a:spcPct val="150000"/>
              </a:lnSpc>
              <a:defRPr sz="1600" b="0" i="0" spc="300">
                <a:ln w="22225">
                  <a:noFill/>
                </a:ln>
                <a:solidFill>
                  <a:schemeClr val="bg1"/>
                </a:solidFill>
                <a:latin typeface="Mylius Modern" panose="020B0504020202020204" pitchFamily="34" charset="0"/>
              </a:defRPr>
            </a:lvl1pPr>
          </a:lstStyle>
          <a:p>
            <a:r>
              <a:rPr lang="en-GB"/>
              <a:t>“INSERT AN INSPIRATIONAL QUOTE HERE”</a:t>
            </a:r>
            <a:endParaRPr lang="en-US"/>
          </a:p>
        </p:txBody>
      </p:sp>
      <p:sp>
        <p:nvSpPr>
          <p:cNvPr id="12" name="TextBox 11">
            <a:extLst>
              <a:ext uri="{FF2B5EF4-FFF2-40B4-BE49-F238E27FC236}">
                <a16:creationId xmlns:a16="http://schemas.microsoft.com/office/drawing/2014/main" id="{144F308E-DA14-91D7-503A-94B7DE8ECBF4}"/>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
        <p:nvSpPr>
          <p:cNvPr id="13" name="TextBox 12">
            <a:extLst>
              <a:ext uri="{FF2B5EF4-FFF2-40B4-BE49-F238E27FC236}">
                <a16:creationId xmlns:a16="http://schemas.microsoft.com/office/drawing/2014/main" id="{B98875BB-DA5A-29A4-6A61-C03BCF742354}"/>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chemeClr val="bg1"/>
                </a:solidFill>
                <a:latin typeface="Mylius Modern" panose="020B0504020202020204" pitchFamily="34" charset="0"/>
              </a:rPr>
              <a:t>‹#›</a:t>
            </a:fld>
            <a:endParaRPr lang="en-US" sz="700" b="0" i="0" spc="0">
              <a:solidFill>
                <a:schemeClr val="bg1"/>
              </a:solidFill>
              <a:latin typeface="Mylius Modern" panose="020B0504020202020204" pitchFamily="34" charset="0"/>
            </a:endParaRPr>
          </a:p>
        </p:txBody>
      </p:sp>
      <p:pic>
        <p:nvPicPr>
          <p:cNvPr id="3" name="Picture 2">
            <a:extLst>
              <a:ext uri="{FF2B5EF4-FFF2-40B4-BE49-F238E27FC236}">
                <a16:creationId xmlns:a16="http://schemas.microsoft.com/office/drawing/2014/main" id="{42112FD3-4550-D4BB-2377-70EE9736EEC3}"/>
              </a:ext>
            </a:extLst>
          </p:cNvPr>
          <p:cNvPicPr>
            <a:picLocks noChangeAspect="1"/>
          </p:cNvPicPr>
          <p:nvPr userDrawn="1"/>
        </p:nvPicPr>
        <p:blipFill>
          <a:blip r:embed="rId4"/>
          <a:stretch>
            <a:fillRect/>
          </a:stretch>
        </p:blipFill>
        <p:spPr>
          <a:xfrm>
            <a:off x="10066300" y="298137"/>
            <a:ext cx="491744" cy="476377"/>
          </a:xfrm>
          <a:prstGeom prst="rect">
            <a:avLst/>
          </a:prstGeom>
        </p:spPr>
      </p:pic>
    </p:spTree>
    <p:extLst>
      <p:ext uri="{BB962C8B-B14F-4D97-AF65-F5344CB8AC3E}">
        <p14:creationId xmlns:p14="http://schemas.microsoft.com/office/powerpoint/2010/main" val="2622293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7245236-5B6B-D8F5-E6CB-281617C39098}"/>
              </a:ext>
            </a:extLst>
          </p:cNvPr>
          <p:cNvSpPr/>
          <p:nvPr userDrawn="1"/>
        </p:nvSpPr>
        <p:spPr>
          <a:xfrm rot="10800000">
            <a:off x="0" y="0"/>
            <a:ext cx="12192000" cy="6904383"/>
          </a:xfrm>
          <a:prstGeom prst="rect">
            <a:avLst/>
          </a:prstGeom>
          <a:gradFill>
            <a:gsLst>
              <a:gs pos="0">
                <a:srgbClr val="5F899E"/>
              </a:gs>
              <a:gs pos="40000">
                <a:srgbClr val="0B5574"/>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picture containing outdoor, sky, plane, flying&#10;&#10;Description automatically generated">
            <a:extLst>
              <a:ext uri="{FF2B5EF4-FFF2-40B4-BE49-F238E27FC236}">
                <a16:creationId xmlns:a16="http://schemas.microsoft.com/office/drawing/2014/main" id="{8E355CFF-3BF8-CB2F-01A7-4B7EB0BADA62}"/>
              </a:ext>
            </a:extLst>
          </p:cNvPr>
          <p:cNvPicPr>
            <a:picLocks noChangeAspect="1"/>
          </p:cNvPicPr>
          <p:nvPr userDrawn="1"/>
        </p:nvPicPr>
        <p:blipFill rotWithShape="1">
          <a:blip r:embed="rId2" cstate="screen">
            <a:alphaModFix amt="39000"/>
            <a:extLst>
              <a:ext uri="{28A0092B-C50C-407E-A947-70E740481C1C}">
                <a14:useLocalDpi xmlns:a14="http://schemas.microsoft.com/office/drawing/2010/main"/>
              </a:ext>
            </a:extLst>
          </a:blip>
          <a:srcRect/>
          <a:stretch/>
        </p:blipFill>
        <p:spPr>
          <a:xfrm>
            <a:off x="0" y="0"/>
            <a:ext cx="12191996" cy="6904384"/>
          </a:xfrm>
          <a:prstGeom prst="rect">
            <a:avLst/>
          </a:prstGeom>
        </p:spPr>
      </p:pic>
      <p:sp>
        <p:nvSpPr>
          <p:cNvPr id="6" name="Rectangle 5">
            <a:extLst>
              <a:ext uri="{FF2B5EF4-FFF2-40B4-BE49-F238E27FC236}">
                <a16:creationId xmlns:a16="http://schemas.microsoft.com/office/drawing/2014/main" id="{99E30B5C-CA5F-8B8D-6A84-4A0D800B67FB}"/>
              </a:ext>
            </a:extLst>
          </p:cNvPr>
          <p:cNvSpPr/>
          <p:nvPr userDrawn="1"/>
        </p:nvSpPr>
        <p:spPr>
          <a:xfrm rot="10800000">
            <a:off x="5442437" y="0"/>
            <a:ext cx="6749559" cy="6904383"/>
          </a:xfrm>
          <a:prstGeom prst="rect">
            <a:avLst/>
          </a:prstGeom>
          <a:gradFill>
            <a:gsLst>
              <a:gs pos="0">
                <a:schemeClr val="tx1">
                  <a:alpha val="0"/>
                </a:schemeClr>
              </a:gs>
              <a:gs pos="57000">
                <a:srgbClr val="0B5574">
                  <a:alpha val="8661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Shape, rectangle&#10;&#10;Description automatically generated">
            <a:extLst>
              <a:ext uri="{FF2B5EF4-FFF2-40B4-BE49-F238E27FC236}">
                <a16:creationId xmlns:a16="http://schemas.microsoft.com/office/drawing/2014/main" id="{7B41A071-CC70-A26A-D652-65CCA4FD0F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sp>
        <p:nvSpPr>
          <p:cNvPr id="15" name="Title 1">
            <a:extLst>
              <a:ext uri="{FF2B5EF4-FFF2-40B4-BE49-F238E27FC236}">
                <a16:creationId xmlns:a16="http://schemas.microsoft.com/office/drawing/2014/main" id="{38F426DA-95E1-1CC7-4BD1-4BCF15D8095F}"/>
              </a:ext>
            </a:extLst>
          </p:cNvPr>
          <p:cNvSpPr>
            <a:spLocks noGrp="1"/>
          </p:cNvSpPr>
          <p:nvPr>
            <p:ph type="ctrTitle" hasCustomPrompt="1"/>
          </p:nvPr>
        </p:nvSpPr>
        <p:spPr>
          <a:xfrm>
            <a:off x="6096000" y="1625889"/>
            <a:ext cx="5085144" cy="3652602"/>
          </a:xfrm>
          <a:prstGeom prst="rect">
            <a:avLst/>
          </a:prstGeom>
        </p:spPr>
        <p:txBody>
          <a:bodyPr anchor="ctr">
            <a:normAutofit/>
          </a:bodyPr>
          <a:lstStyle>
            <a:lvl1pPr algn="ctr">
              <a:lnSpc>
                <a:spcPct val="150000"/>
              </a:lnSpc>
              <a:defRPr sz="1600" b="0" i="0" spc="300">
                <a:ln w="22225">
                  <a:noFill/>
                </a:ln>
                <a:solidFill>
                  <a:schemeClr val="bg1"/>
                </a:solidFill>
                <a:latin typeface="Mylius Modern" panose="020B0504020202020204" pitchFamily="34" charset="0"/>
              </a:defRPr>
            </a:lvl1pPr>
          </a:lstStyle>
          <a:p>
            <a:r>
              <a:rPr lang="en-GB"/>
              <a:t>“INSERT AN INSPIRATIONAL QUOTE HERE”</a:t>
            </a:r>
            <a:endParaRPr lang="en-US"/>
          </a:p>
        </p:txBody>
      </p:sp>
      <p:sp>
        <p:nvSpPr>
          <p:cNvPr id="12" name="TextBox 11">
            <a:extLst>
              <a:ext uri="{FF2B5EF4-FFF2-40B4-BE49-F238E27FC236}">
                <a16:creationId xmlns:a16="http://schemas.microsoft.com/office/drawing/2014/main" id="{144F308E-DA14-91D7-503A-94B7DE8ECBF4}"/>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
        <p:nvSpPr>
          <p:cNvPr id="13" name="TextBox 12">
            <a:extLst>
              <a:ext uri="{FF2B5EF4-FFF2-40B4-BE49-F238E27FC236}">
                <a16:creationId xmlns:a16="http://schemas.microsoft.com/office/drawing/2014/main" id="{B98875BB-DA5A-29A4-6A61-C03BCF742354}"/>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chemeClr val="bg1"/>
                </a:solidFill>
                <a:latin typeface="Mylius Modern" panose="020B0504020202020204" pitchFamily="34" charset="0"/>
              </a:rPr>
              <a:t>‹#›</a:t>
            </a:fld>
            <a:endParaRPr lang="en-US" sz="700" b="0" i="0" spc="0">
              <a:solidFill>
                <a:schemeClr val="bg1"/>
              </a:solidFill>
              <a:latin typeface="Mylius Modern" panose="020B0504020202020204" pitchFamily="34" charset="0"/>
            </a:endParaRPr>
          </a:p>
        </p:txBody>
      </p:sp>
      <p:pic>
        <p:nvPicPr>
          <p:cNvPr id="3" name="Picture 2">
            <a:extLst>
              <a:ext uri="{FF2B5EF4-FFF2-40B4-BE49-F238E27FC236}">
                <a16:creationId xmlns:a16="http://schemas.microsoft.com/office/drawing/2014/main" id="{4C8B0EFA-8F8E-A0A9-42AC-8BEA1B095FB9}"/>
              </a:ext>
            </a:extLst>
          </p:cNvPr>
          <p:cNvPicPr>
            <a:picLocks noChangeAspect="1"/>
          </p:cNvPicPr>
          <p:nvPr userDrawn="1"/>
        </p:nvPicPr>
        <p:blipFill>
          <a:blip r:embed="rId4"/>
          <a:stretch>
            <a:fillRect/>
          </a:stretch>
        </p:blipFill>
        <p:spPr>
          <a:xfrm>
            <a:off x="10066300" y="298137"/>
            <a:ext cx="491744" cy="476377"/>
          </a:xfrm>
          <a:prstGeom prst="rect">
            <a:avLst/>
          </a:prstGeom>
        </p:spPr>
      </p:pic>
    </p:spTree>
    <p:extLst>
      <p:ext uri="{BB962C8B-B14F-4D97-AF65-F5344CB8AC3E}">
        <p14:creationId xmlns:p14="http://schemas.microsoft.com/office/powerpoint/2010/main" val="15403383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urst 1x4">
    <p:spTree>
      <p:nvGrpSpPr>
        <p:cNvPr id="1" name=""/>
        <p:cNvGrpSpPr/>
        <p:nvPr/>
      </p:nvGrpSpPr>
      <p:grpSpPr>
        <a:xfrm>
          <a:off x="0" y="0"/>
          <a:ext cx="0" cy="0"/>
          <a:chOff x="0" y="0"/>
          <a:chExt cx="0" cy="0"/>
        </a:xfrm>
      </p:grpSpPr>
      <p:sp>
        <p:nvSpPr>
          <p:cNvPr id="8" name="Text Placeholder 45">
            <a:extLst>
              <a:ext uri="{FF2B5EF4-FFF2-40B4-BE49-F238E27FC236}">
                <a16:creationId xmlns:a16="http://schemas.microsoft.com/office/drawing/2014/main" id="{EA9F5E33-B1D8-4874-A7B5-4959EBE32A3A}"/>
              </a:ext>
            </a:extLst>
          </p:cNvPr>
          <p:cNvSpPr>
            <a:spLocks noGrp="1"/>
          </p:cNvSpPr>
          <p:nvPr>
            <p:ph type="body" sz="quarter" idx="18"/>
          </p:nvPr>
        </p:nvSpPr>
        <p:spPr>
          <a:xfrm>
            <a:off x="459016" y="1614013"/>
            <a:ext cx="3612992" cy="1395566"/>
          </a:xfrm>
          <a:prstGeom prst="rect">
            <a:avLst/>
          </a:prstGeom>
          <a:noFill/>
          <a:ln w="19050">
            <a:solidFill>
              <a:schemeClr val="bg1"/>
            </a:solidFill>
          </a:ln>
        </p:spPr>
        <p:txBody>
          <a:bodyPr anchor="ctr" anchorCtr="0"/>
          <a:lstStyle>
            <a:lvl1pPr marL="0" indent="0" algn="ctr">
              <a:buNone/>
              <a:defRPr sz="2400" cap="all" baseline="0">
                <a:solidFill>
                  <a:schemeClr val="bg1"/>
                </a:solidFill>
                <a:latin typeface="Mylius Modern" panose="020B0504020202020204" pitchFamily="34" charset="0"/>
              </a:defRPr>
            </a:lvl1pPr>
          </a:lstStyle>
          <a:p>
            <a:pPr lvl="0"/>
            <a:r>
              <a:rPr lang="en-US"/>
              <a:t>Click to edit Master text styles</a:t>
            </a:r>
          </a:p>
        </p:txBody>
      </p:sp>
      <p:sp>
        <p:nvSpPr>
          <p:cNvPr id="9" name="Text Placeholder 45">
            <a:extLst>
              <a:ext uri="{FF2B5EF4-FFF2-40B4-BE49-F238E27FC236}">
                <a16:creationId xmlns:a16="http://schemas.microsoft.com/office/drawing/2014/main" id="{B0ABDE38-7054-44FF-A125-4C715FAEF097}"/>
              </a:ext>
            </a:extLst>
          </p:cNvPr>
          <p:cNvSpPr>
            <a:spLocks noGrp="1"/>
          </p:cNvSpPr>
          <p:nvPr>
            <p:ph type="body" sz="quarter" idx="19"/>
          </p:nvPr>
        </p:nvSpPr>
        <p:spPr>
          <a:xfrm>
            <a:off x="8122409" y="1614013"/>
            <a:ext cx="3615407" cy="1395566"/>
          </a:xfrm>
          <a:prstGeom prst="rect">
            <a:avLst/>
          </a:prstGeom>
          <a:noFill/>
          <a:ln w="19050">
            <a:solidFill>
              <a:schemeClr val="bg1"/>
            </a:solidFill>
          </a:ln>
        </p:spPr>
        <p:txBody>
          <a:bodyPr anchor="ctr" anchorCtr="0"/>
          <a:lstStyle>
            <a:lvl1pPr marL="0" indent="0" algn="ctr">
              <a:buNone/>
              <a:defRPr sz="2400" cap="all" baseline="0">
                <a:solidFill>
                  <a:schemeClr val="bg1"/>
                </a:solidFill>
                <a:latin typeface="Mylius Modern" panose="020B0504020202020204" pitchFamily="34" charset="0"/>
              </a:defRPr>
            </a:lvl1pPr>
          </a:lstStyle>
          <a:p>
            <a:pPr lvl="0"/>
            <a:r>
              <a:rPr lang="en-US"/>
              <a:t>Click to edit Master text styles</a:t>
            </a:r>
          </a:p>
        </p:txBody>
      </p:sp>
      <p:sp>
        <p:nvSpPr>
          <p:cNvPr id="10" name="Text Placeholder 45">
            <a:extLst>
              <a:ext uri="{FF2B5EF4-FFF2-40B4-BE49-F238E27FC236}">
                <a16:creationId xmlns:a16="http://schemas.microsoft.com/office/drawing/2014/main" id="{216CC763-D48C-4627-BA7F-4534C202F9E1}"/>
              </a:ext>
            </a:extLst>
          </p:cNvPr>
          <p:cNvSpPr>
            <a:spLocks noGrp="1"/>
          </p:cNvSpPr>
          <p:nvPr>
            <p:ph type="body" sz="quarter" idx="20"/>
          </p:nvPr>
        </p:nvSpPr>
        <p:spPr>
          <a:xfrm>
            <a:off x="8122409" y="4557499"/>
            <a:ext cx="3615407" cy="1395566"/>
          </a:xfrm>
          <a:prstGeom prst="rect">
            <a:avLst/>
          </a:prstGeom>
          <a:noFill/>
          <a:ln w="19050">
            <a:solidFill>
              <a:schemeClr val="bg1"/>
            </a:solidFill>
          </a:ln>
        </p:spPr>
        <p:txBody>
          <a:bodyPr anchor="ctr" anchorCtr="0"/>
          <a:lstStyle>
            <a:lvl1pPr marL="0" indent="0" algn="ctr">
              <a:buNone/>
              <a:defRPr sz="2400" cap="all" baseline="0">
                <a:solidFill>
                  <a:schemeClr val="bg1"/>
                </a:solidFill>
                <a:latin typeface="Mylius Modern" panose="020B0504020202020204" pitchFamily="34" charset="0"/>
              </a:defRPr>
            </a:lvl1pPr>
          </a:lstStyle>
          <a:p>
            <a:pPr lvl="0"/>
            <a:r>
              <a:rPr lang="en-US"/>
              <a:t>Click to edit Master text styles</a:t>
            </a:r>
          </a:p>
        </p:txBody>
      </p:sp>
      <p:sp>
        <p:nvSpPr>
          <p:cNvPr id="11" name="Text Placeholder 45">
            <a:extLst>
              <a:ext uri="{FF2B5EF4-FFF2-40B4-BE49-F238E27FC236}">
                <a16:creationId xmlns:a16="http://schemas.microsoft.com/office/drawing/2014/main" id="{217655D6-C3A2-42C2-81BD-1AA7B2EFFDE7}"/>
              </a:ext>
            </a:extLst>
          </p:cNvPr>
          <p:cNvSpPr>
            <a:spLocks noGrp="1"/>
          </p:cNvSpPr>
          <p:nvPr>
            <p:ph type="body" sz="quarter" idx="21"/>
          </p:nvPr>
        </p:nvSpPr>
        <p:spPr>
          <a:xfrm>
            <a:off x="456600" y="4557499"/>
            <a:ext cx="3612992" cy="1395566"/>
          </a:xfrm>
          <a:prstGeom prst="rect">
            <a:avLst/>
          </a:prstGeom>
          <a:noFill/>
          <a:ln w="19050">
            <a:solidFill>
              <a:schemeClr val="bg1"/>
            </a:solidFill>
          </a:ln>
        </p:spPr>
        <p:txBody>
          <a:bodyPr anchor="ctr" anchorCtr="0"/>
          <a:lstStyle>
            <a:lvl1pPr marL="0" indent="0" algn="ctr">
              <a:buNone/>
              <a:defRPr sz="2400" cap="all" baseline="0">
                <a:solidFill>
                  <a:schemeClr val="bg1"/>
                </a:solidFill>
                <a:latin typeface="Mylius Modern" panose="020B0504020202020204" pitchFamily="34" charset="0"/>
              </a:defRPr>
            </a:lvl1pPr>
          </a:lstStyle>
          <a:p>
            <a:pPr lvl="0"/>
            <a:r>
              <a:rPr lang="en-US"/>
              <a:t>Click to edit Master text styles</a:t>
            </a:r>
          </a:p>
        </p:txBody>
      </p:sp>
      <p:sp>
        <p:nvSpPr>
          <p:cNvPr id="12" name="Title 1">
            <a:extLst>
              <a:ext uri="{FF2B5EF4-FFF2-40B4-BE49-F238E27FC236}">
                <a16:creationId xmlns:a16="http://schemas.microsoft.com/office/drawing/2014/main" id="{CBD95152-D12F-4B49-8314-D2C6057BFC42}"/>
              </a:ext>
            </a:extLst>
          </p:cNvPr>
          <p:cNvSpPr>
            <a:spLocks noGrp="1"/>
          </p:cNvSpPr>
          <p:nvPr>
            <p:ph type="ctrTitle" hasCustomPrompt="1"/>
          </p:nvPr>
        </p:nvSpPr>
        <p:spPr>
          <a:xfrm>
            <a:off x="3942080" y="3538330"/>
            <a:ext cx="4307840" cy="2101577"/>
          </a:xfrm>
          <a:prstGeom prst="rect">
            <a:avLst/>
          </a:prstGeom>
        </p:spPr>
        <p:txBody>
          <a:bodyPr anchor="ctr">
            <a:normAutofit/>
          </a:bodyPr>
          <a:lstStyle>
            <a:lvl1pPr algn="ctr">
              <a:defRPr sz="4800" b="1">
                <a:ln w="22225">
                  <a:solidFill>
                    <a:schemeClr val="bg1"/>
                  </a:solidFill>
                </a:ln>
                <a:solidFill>
                  <a:srgbClr val="0A5574"/>
                </a:solidFill>
                <a:latin typeface="Mylius Modern" panose="020B0504020202020204" pitchFamily="34" charset="0"/>
              </a:defRPr>
            </a:lvl1pPr>
          </a:lstStyle>
          <a:p>
            <a:r>
              <a:rPr lang="en-GB"/>
              <a:t>A </a:t>
            </a:r>
            <a:br>
              <a:rPr lang="en-GB"/>
            </a:br>
            <a:r>
              <a:rPr lang="en-GB"/>
              <a:t>BETTER </a:t>
            </a:r>
            <a:br>
              <a:rPr lang="en-GB"/>
            </a:br>
            <a:r>
              <a:rPr lang="en-GB"/>
              <a:t>BA</a:t>
            </a:r>
            <a:endParaRPr lang="en-US"/>
          </a:p>
        </p:txBody>
      </p:sp>
      <p:cxnSp>
        <p:nvCxnSpPr>
          <p:cNvPr id="19" name="Straight Connector 18">
            <a:extLst>
              <a:ext uri="{FF2B5EF4-FFF2-40B4-BE49-F238E27FC236}">
                <a16:creationId xmlns:a16="http://schemas.microsoft.com/office/drawing/2014/main" id="{95883E7F-5512-45C2-9A67-68D6C8BE1C6E}"/>
              </a:ext>
            </a:extLst>
          </p:cNvPr>
          <p:cNvCxnSpPr>
            <a:cxnSpLocks/>
            <a:endCxn id="12" idx="0"/>
          </p:cNvCxnSpPr>
          <p:nvPr userDrawn="1"/>
        </p:nvCxnSpPr>
        <p:spPr>
          <a:xfrm>
            <a:off x="4072008" y="1614013"/>
            <a:ext cx="2023992" cy="1924317"/>
          </a:xfrm>
          <a:prstGeom prst="line">
            <a:avLst/>
          </a:prstGeom>
          <a:ln w="19050">
            <a:solidFill>
              <a:srgbClr val="F6F6F6"/>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75BC044-8AB5-445E-A0B0-C8818A77BC7C}"/>
              </a:ext>
            </a:extLst>
          </p:cNvPr>
          <p:cNvCxnSpPr>
            <a:cxnSpLocks/>
            <a:endCxn id="12" idx="0"/>
          </p:cNvCxnSpPr>
          <p:nvPr userDrawn="1"/>
        </p:nvCxnSpPr>
        <p:spPr>
          <a:xfrm flipH="1">
            <a:off x="6096000" y="1614013"/>
            <a:ext cx="2026412" cy="1924317"/>
          </a:xfrm>
          <a:prstGeom prst="line">
            <a:avLst/>
          </a:prstGeom>
          <a:ln w="19050">
            <a:solidFill>
              <a:srgbClr val="F6F6F6"/>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22DCE8-8159-4F82-ACB5-10F425039F32}"/>
              </a:ext>
            </a:extLst>
          </p:cNvPr>
          <p:cNvCxnSpPr>
            <a:cxnSpLocks/>
            <a:endCxn id="12" idx="2"/>
          </p:cNvCxnSpPr>
          <p:nvPr userDrawn="1"/>
        </p:nvCxnSpPr>
        <p:spPr>
          <a:xfrm flipV="1">
            <a:off x="4069592" y="5639907"/>
            <a:ext cx="2026408" cy="313160"/>
          </a:xfrm>
          <a:prstGeom prst="line">
            <a:avLst/>
          </a:prstGeom>
          <a:ln w="19050">
            <a:solidFill>
              <a:srgbClr val="F6F6F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67CC063-B5A5-40B4-9138-BC129A344CF0}"/>
              </a:ext>
            </a:extLst>
          </p:cNvPr>
          <p:cNvCxnSpPr>
            <a:cxnSpLocks/>
            <a:endCxn id="12" idx="2"/>
          </p:cNvCxnSpPr>
          <p:nvPr userDrawn="1"/>
        </p:nvCxnSpPr>
        <p:spPr>
          <a:xfrm flipH="1" flipV="1">
            <a:off x="6096000" y="5639907"/>
            <a:ext cx="2026412" cy="313160"/>
          </a:xfrm>
          <a:prstGeom prst="line">
            <a:avLst/>
          </a:prstGeom>
          <a:ln w="19050">
            <a:solidFill>
              <a:srgbClr val="F6F6F6"/>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F3D5339-A050-4D59-A15C-8ED02341ED15}"/>
              </a:ext>
            </a:extLst>
          </p:cNvPr>
          <p:cNvCxnSpPr>
            <a:cxnSpLocks/>
          </p:cNvCxnSpPr>
          <p:nvPr userDrawn="1"/>
        </p:nvCxnSpPr>
        <p:spPr>
          <a:xfrm>
            <a:off x="459016" y="3009579"/>
            <a:ext cx="3610576" cy="869552"/>
          </a:xfrm>
          <a:prstGeom prst="line">
            <a:avLst/>
          </a:prstGeom>
          <a:ln w="19050">
            <a:solidFill>
              <a:srgbClr val="F6F6F6"/>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31DC028-9AF7-43C1-B5DD-FC14CD298D8D}"/>
              </a:ext>
            </a:extLst>
          </p:cNvPr>
          <p:cNvCxnSpPr>
            <a:cxnSpLocks/>
          </p:cNvCxnSpPr>
          <p:nvPr userDrawn="1"/>
        </p:nvCxnSpPr>
        <p:spPr>
          <a:xfrm flipV="1">
            <a:off x="459016" y="3848422"/>
            <a:ext cx="3483064" cy="709078"/>
          </a:xfrm>
          <a:prstGeom prst="line">
            <a:avLst/>
          </a:prstGeom>
          <a:ln w="19050">
            <a:solidFill>
              <a:srgbClr val="F6F6F6"/>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AC7CAE4-E243-4A0D-BB0E-7C672A8FA595}"/>
              </a:ext>
            </a:extLst>
          </p:cNvPr>
          <p:cNvCxnSpPr>
            <a:cxnSpLocks/>
          </p:cNvCxnSpPr>
          <p:nvPr userDrawn="1"/>
        </p:nvCxnSpPr>
        <p:spPr>
          <a:xfrm flipH="1">
            <a:off x="8122232" y="3009579"/>
            <a:ext cx="3615584" cy="869552"/>
          </a:xfrm>
          <a:prstGeom prst="line">
            <a:avLst/>
          </a:prstGeom>
          <a:ln w="19050">
            <a:solidFill>
              <a:srgbClr val="F6F6F6"/>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1022D68-1601-4DB6-B70A-D7DF253EB875}"/>
              </a:ext>
            </a:extLst>
          </p:cNvPr>
          <p:cNvCxnSpPr>
            <a:cxnSpLocks/>
          </p:cNvCxnSpPr>
          <p:nvPr userDrawn="1"/>
        </p:nvCxnSpPr>
        <p:spPr>
          <a:xfrm flipH="1" flipV="1">
            <a:off x="8249920" y="3848422"/>
            <a:ext cx="3483064" cy="709078"/>
          </a:xfrm>
          <a:prstGeom prst="line">
            <a:avLst/>
          </a:prstGeom>
          <a:ln w="19050">
            <a:solidFill>
              <a:srgbClr val="F6F6F6"/>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77A93CBF-0011-4DDE-9DB0-F245B30BC062}"/>
              </a:ext>
            </a:extLst>
          </p:cNvPr>
          <p:cNvCxnSpPr>
            <a:cxnSpLocks/>
          </p:cNvCxnSpPr>
          <p:nvPr userDrawn="1"/>
        </p:nvCxnSpPr>
        <p:spPr>
          <a:xfrm>
            <a:off x="4069591" y="3007962"/>
            <a:ext cx="446262" cy="311708"/>
          </a:xfrm>
          <a:prstGeom prst="line">
            <a:avLst/>
          </a:prstGeom>
          <a:ln w="19050">
            <a:solidFill>
              <a:srgbClr val="F6F6F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26453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2" name="Picture 1" descr="A group of people running on a road&#10;&#10;Description automatically generated with low confidence">
            <a:extLst>
              <a:ext uri="{FF2B5EF4-FFF2-40B4-BE49-F238E27FC236}">
                <a16:creationId xmlns:a16="http://schemas.microsoft.com/office/drawing/2014/main" id="{E2B58046-53E9-5B91-700F-86D39E490C48}"/>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t="-330"/>
          <a:stretch/>
        </p:blipFill>
        <p:spPr>
          <a:xfrm>
            <a:off x="0" y="-22698"/>
            <a:ext cx="12192000" cy="6880698"/>
          </a:xfrm>
          <a:prstGeom prst="rect">
            <a:avLst/>
          </a:prstGeom>
        </p:spPr>
      </p:pic>
      <p:pic>
        <p:nvPicPr>
          <p:cNvPr id="11" name="Picture 10" descr="Shape, rectangle&#10;&#10;Description automatically generated">
            <a:extLst>
              <a:ext uri="{FF2B5EF4-FFF2-40B4-BE49-F238E27FC236}">
                <a16:creationId xmlns:a16="http://schemas.microsoft.com/office/drawing/2014/main" id="{011F1746-FC28-443B-64BE-98EDD951495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pic>
        <p:nvPicPr>
          <p:cNvPr id="4" name="Picture 3" descr="Chart&#10;&#10;Description automatically generated with low confidence">
            <a:extLst>
              <a:ext uri="{FF2B5EF4-FFF2-40B4-BE49-F238E27FC236}">
                <a16:creationId xmlns:a16="http://schemas.microsoft.com/office/drawing/2014/main" id="{92E7FF64-12D4-38F1-9FD4-807E465652A6}"/>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410" y="637448"/>
            <a:ext cx="12181590" cy="5734800"/>
          </a:xfrm>
          <a:prstGeom prst="rect">
            <a:avLst/>
          </a:prstGeom>
        </p:spPr>
      </p:pic>
      <p:grpSp>
        <p:nvGrpSpPr>
          <p:cNvPr id="5" name="Group 4">
            <a:extLst>
              <a:ext uri="{FF2B5EF4-FFF2-40B4-BE49-F238E27FC236}">
                <a16:creationId xmlns:a16="http://schemas.microsoft.com/office/drawing/2014/main" id="{A800717E-A146-D56E-2034-34609502FA42}"/>
              </a:ext>
            </a:extLst>
          </p:cNvPr>
          <p:cNvGrpSpPr/>
          <p:nvPr userDrawn="1"/>
        </p:nvGrpSpPr>
        <p:grpSpPr>
          <a:xfrm>
            <a:off x="4190173" y="4625718"/>
            <a:ext cx="3789002" cy="760582"/>
            <a:chOff x="7080243" y="644955"/>
            <a:chExt cx="3789002" cy="760582"/>
          </a:xfrm>
        </p:grpSpPr>
        <p:sp>
          <p:nvSpPr>
            <p:cNvPr id="6" name="Title 1">
              <a:extLst>
                <a:ext uri="{FF2B5EF4-FFF2-40B4-BE49-F238E27FC236}">
                  <a16:creationId xmlns:a16="http://schemas.microsoft.com/office/drawing/2014/main" id="{AA7668A4-65DB-8023-3D60-4A2903264694}"/>
                </a:ext>
              </a:extLst>
            </p:cNvPr>
            <p:cNvSpPr txBox="1">
              <a:spLocks/>
            </p:cNvSpPr>
            <p:nvPr/>
          </p:nvSpPr>
          <p:spPr>
            <a:xfrm>
              <a:off x="7080243" y="1124788"/>
              <a:ext cx="3789002" cy="280749"/>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2800" b="0" i="0" kern="1200" spc="600">
                  <a:solidFill>
                    <a:schemeClr val="bg1"/>
                  </a:solidFill>
                  <a:latin typeface="Mylius Modern" panose="020B0504020202020204"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300" normalizeH="0" baseline="0" noProof="0">
                  <a:ln w="17145">
                    <a:solidFill>
                      <a:srgbClr val="FFFFFF"/>
                    </a:solidFill>
                  </a:ln>
                  <a:noFill/>
                  <a:effectLst/>
                  <a:uLnTx/>
                  <a:uFillTx/>
                  <a:latin typeface="Mylius Modern" panose="020B0504020202020204" pitchFamily="34" charset="0"/>
                  <a:ea typeface="+mj-ea"/>
                  <a:cs typeface="+mj-cs"/>
                </a:rPr>
                <a:t>A BETTER BA</a:t>
              </a:r>
              <a:endParaRPr kumimoji="0" lang="en-GB" sz="2400" b="1" i="0" u="none" strike="noStrike" kern="1200" cap="none" spc="300" normalizeH="0" baseline="0" noProof="0">
                <a:ln w="17145">
                  <a:solidFill>
                    <a:srgbClr val="FFFFFF"/>
                  </a:solidFill>
                </a:ln>
                <a:noFill/>
                <a:effectLst/>
                <a:uLnTx/>
                <a:uFillTx/>
                <a:latin typeface="Mylius Modern" panose="020B0504020202020204" pitchFamily="34" charset="0"/>
                <a:ea typeface="+mj-ea"/>
                <a:cs typeface="+mj-cs"/>
              </a:endParaRPr>
            </a:p>
          </p:txBody>
        </p:sp>
        <p:sp>
          <p:nvSpPr>
            <p:cNvPr id="8" name="Title 1">
              <a:extLst>
                <a:ext uri="{FF2B5EF4-FFF2-40B4-BE49-F238E27FC236}">
                  <a16:creationId xmlns:a16="http://schemas.microsoft.com/office/drawing/2014/main" id="{9CAFD155-B6F9-A9E7-85C9-57244B336610}"/>
                </a:ext>
              </a:extLst>
            </p:cNvPr>
            <p:cNvSpPr txBox="1">
              <a:spLocks/>
            </p:cNvSpPr>
            <p:nvPr/>
          </p:nvSpPr>
          <p:spPr>
            <a:xfrm>
              <a:off x="7080243" y="644955"/>
              <a:ext cx="3789002" cy="280749"/>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2800" b="0" i="0" kern="1200" spc="600">
                  <a:solidFill>
                    <a:schemeClr val="bg1"/>
                  </a:solidFill>
                  <a:latin typeface="Mylius Modern" panose="020B0504020202020204"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300" normalizeH="0" baseline="0" noProof="0">
                  <a:ln w="17145">
                    <a:noFill/>
                  </a:ln>
                  <a:solidFill>
                    <a:srgbClr val="FFFFFF"/>
                  </a:solidFill>
                  <a:effectLst/>
                  <a:uLnTx/>
                  <a:uFillTx/>
                  <a:latin typeface="Mylius Modern" panose="020B0504020202020204" pitchFamily="34" charset="0"/>
                  <a:ea typeface="+mj-ea"/>
                  <a:cs typeface="+mj-cs"/>
                </a:rPr>
                <a:t>OUR JOURNEY TO</a:t>
              </a:r>
              <a:endParaRPr kumimoji="0" lang="en-GB" sz="1600" b="1" i="0" u="none" strike="noStrike" kern="1200" cap="none" spc="300" normalizeH="0" baseline="0" noProof="0">
                <a:ln w="17145">
                  <a:noFill/>
                </a:ln>
                <a:solidFill>
                  <a:srgbClr val="FFFFFF"/>
                </a:solidFill>
                <a:effectLst/>
                <a:uLnTx/>
                <a:uFillTx/>
                <a:latin typeface="Mylius Modern" panose="020B0504020202020204" pitchFamily="34" charset="0"/>
                <a:ea typeface="+mj-ea"/>
                <a:cs typeface="+mj-cs"/>
              </a:endParaRPr>
            </a:p>
          </p:txBody>
        </p:sp>
      </p:grpSp>
      <p:pic>
        <p:nvPicPr>
          <p:cNvPr id="3" name="Picture 2">
            <a:extLst>
              <a:ext uri="{FF2B5EF4-FFF2-40B4-BE49-F238E27FC236}">
                <a16:creationId xmlns:a16="http://schemas.microsoft.com/office/drawing/2014/main" id="{FCFC53AB-A204-0ED4-3A45-3381C37D1CAD}"/>
              </a:ext>
            </a:extLst>
          </p:cNvPr>
          <p:cNvPicPr>
            <a:picLocks noChangeAspect="1"/>
          </p:cNvPicPr>
          <p:nvPr userDrawn="1"/>
        </p:nvPicPr>
        <p:blipFill>
          <a:blip r:embed="rId5"/>
          <a:stretch>
            <a:fillRect/>
          </a:stretch>
        </p:blipFill>
        <p:spPr>
          <a:xfrm>
            <a:off x="10066300" y="298137"/>
            <a:ext cx="491744" cy="476377"/>
          </a:xfrm>
          <a:prstGeom prst="rect">
            <a:avLst/>
          </a:prstGeom>
        </p:spPr>
      </p:pic>
    </p:spTree>
    <p:extLst>
      <p:ext uri="{BB962C8B-B14F-4D97-AF65-F5344CB8AC3E}">
        <p14:creationId xmlns:p14="http://schemas.microsoft.com/office/powerpoint/2010/main" val="2123759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11" name="Picture 10" descr="Shape, rectangle&#10;&#10;Description automatically generated">
            <a:extLst>
              <a:ext uri="{FF2B5EF4-FFF2-40B4-BE49-F238E27FC236}">
                <a16:creationId xmlns:a16="http://schemas.microsoft.com/office/drawing/2014/main" id="{011F1746-FC28-443B-64BE-98EDD95149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pic>
        <p:nvPicPr>
          <p:cNvPr id="7" name="Picture 6" descr="A picture containing text, person&#10;&#10;Description automatically generated">
            <a:extLst>
              <a:ext uri="{FF2B5EF4-FFF2-40B4-BE49-F238E27FC236}">
                <a16:creationId xmlns:a16="http://schemas.microsoft.com/office/drawing/2014/main" id="{30DBA0AF-F86F-B27D-477C-A04E9528872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4017519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11" name="Picture 10" descr="Shape, rectangle&#10;&#10;Description automatically generated">
            <a:extLst>
              <a:ext uri="{FF2B5EF4-FFF2-40B4-BE49-F238E27FC236}">
                <a16:creationId xmlns:a16="http://schemas.microsoft.com/office/drawing/2014/main" id="{011F1746-FC28-443B-64BE-98EDD95149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pic>
        <p:nvPicPr>
          <p:cNvPr id="3" name="Picture 2" descr="A picture containing person&#10;&#10;Description automatically generated">
            <a:extLst>
              <a:ext uri="{FF2B5EF4-FFF2-40B4-BE49-F238E27FC236}">
                <a16:creationId xmlns:a16="http://schemas.microsoft.com/office/drawing/2014/main" id="{1390A2CA-32AD-57DB-5DD3-80664907E97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9886181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CQA">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0493814-CBE9-4944-94ED-23A55DEF0E28}"/>
              </a:ext>
            </a:extLst>
          </p:cNvPr>
          <p:cNvSpPr/>
          <p:nvPr userDrawn="1"/>
        </p:nvSpPr>
        <p:spPr>
          <a:xfrm>
            <a:off x="0" y="1386457"/>
            <a:ext cx="4010527" cy="1031358"/>
          </a:xfrm>
          <a:prstGeom prst="rect">
            <a:avLst/>
          </a:prstGeom>
          <a:solidFill>
            <a:srgbClr val="0855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6" name="Rectangle 5">
            <a:extLst>
              <a:ext uri="{FF2B5EF4-FFF2-40B4-BE49-F238E27FC236}">
                <a16:creationId xmlns:a16="http://schemas.microsoft.com/office/drawing/2014/main" id="{C4DCD705-4285-2640-9A45-186E44E992F8}"/>
              </a:ext>
            </a:extLst>
          </p:cNvPr>
          <p:cNvSpPr/>
          <p:nvPr userDrawn="1"/>
        </p:nvSpPr>
        <p:spPr>
          <a:xfrm>
            <a:off x="0" y="2584733"/>
            <a:ext cx="4010527" cy="1031358"/>
          </a:xfrm>
          <a:prstGeom prst="rect">
            <a:avLst/>
          </a:prstGeom>
          <a:solidFill>
            <a:srgbClr val="0855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Rectangle 6">
            <a:extLst>
              <a:ext uri="{FF2B5EF4-FFF2-40B4-BE49-F238E27FC236}">
                <a16:creationId xmlns:a16="http://schemas.microsoft.com/office/drawing/2014/main" id="{E8FA6DA5-A4E0-BD47-9D97-BB722FB9AD6A}"/>
              </a:ext>
            </a:extLst>
          </p:cNvPr>
          <p:cNvSpPr/>
          <p:nvPr userDrawn="1"/>
        </p:nvSpPr>
        <p:spPr>
          <a:xfrm>
            <a:off x="0" y="3793110"/>
            <a:ext cx="4010527" cy="1031358"/>
          </a:xfrm>
          <a:prstGeom prst="rect">
            <a:avLst/>
          </a:prstGeom>
          <a:solidFill>
            <a:srgbClr val="0855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8" name="Rectangle 7">
            <a:extLst>
              <a:ext uri="{FF2B5EF4-FFF2-40B4-BE49-F238E27FC236}">
                <a16:creationId xmlns:a16="http://schemas.microsoft.com/office/drawing/2014/main" id="{7D5D5211-BDDC-7640-AA2C-D73C7CCD8166}"/>
              </a:ext>
            </a:extLst>
          </p:cNvPr>
          <p:cNvSpPr/>
          <p:nvPr userDrawn="1"/>
        </p:nvSpPr>
        <p:spPr>
          <a:xfrm>
            <a:off x="-1" y="5014246"/>
            <a:ext cx="4010527" cy="1031358"/>
          </a:xfrm>
          <a:prstGeom prst="rect">
            <a:avLst/>
          </a:prstGeom>
          <a:solidFill>
            <a:srgbClr val="0855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7" name="Text Placeholder 54">
            <a:extLst>
              <a:ext uri="{FF2B5EF4-FFF2-40B4-BE49-F238E27FC236}">
                <a16:creationId xmlns:a16="http://schemas.microsoft.com/office/drawing/2014/main" id="{89F0FE40-0C3E-3447-B98C-FC7D0ABFC956}"/>
              </a:ext>
            </a:extLst>
          </p:cNvPr>
          <p:cNvSpPr>
            <a:spLocks noGrp="1"/>
          </p:cNvSpPr>
          <p:nvPr>
            <p:ph type="body" sz="quarter" idx="11"/>
          </p:nvPr>
        </p:nvSpPr>
        <p:spPr>
          <a:xfrm>
            <a:off x="4225925" y="1390256"/>
            <a:ext cx="7539038" cy="1031875"/>
          </a:xfrm>
          <a:prstGeom prst="rect">
            <a:avLst/>
          </a:prstGeom>
        </p:spPr>
        <p:txBody>
          <a:bodyPr anchor="ctr"/>
          <a:lstStyle>
            <a:lvl1pPr marL="0" indent="0">
              <a:buNone/>
              <a:defRPr>
                <a:solidFill>
                  <a:srgbClr val="0B5574"/>
                </a:solidFill>
                <a:latin typeface="Mylius Modern" panose="020B0504020202020204" pitchFamily="34" charset="0"/>
              </a:defRPr>
            </a:lvl1pPr>
          </a:lstStyle>
          <a:p>
            <a:pPr lvl="0"/>
            <a:r>
              <a:rPr lang="en-GB"/>
              <a:t>Click to edit Master text styles</a:t>
            </a:r>
          </a:p>
        </p:txBody>
      </p:sp>
      <p:sp>
        <p:nvSpPr>
          <p:cNvPr id="18" name="Text Placeholder 54">
            <a:extLst>
              <a:ext uri="{FF2B5EF4-FFF2-40B4-BE49-F238E27FC236}">
                <a16:creationId xmlns:a16="http://schemas.microsoft.com/office/drawing/2014/main" id="{0C29FC83-3D0E-C04A-816F-5C82593E24C2}"/>
              </a:ext>
            </a:extLst>
          </p:cNvPr>
          <p:cNvSpPr>
            <a:spLocks noGrp="1"/>
          </p:cNvSpPr>
          <p:nvPr>
            <p:ph type="body" sz="quarter" idx="12"/>
          </p:nvPr>
        </p:nvSpPr>
        <p:spPr>
          <a:xfrm>
            <a:off x="4225925" y="2578677"/>
            <a:ext cx="7539038" cy="1031875"/>
          </a:xfrm>
          <a:prstGeom prst="rect">
            <a:avLst/>
          </a:prstGeom>
        </p:spPr>
        <p:txBody>
          <a:bodyPr anchor="ctr"/>
          <a:lstStyle>
            <a:lvl1pPr marL="0" indent="0">
              <a:buNone/>
              <a:defRPr>
                <a:solidFill>
                  <a:srgbClr val="0B5574"/>
                </a:solidFill>
                <a:latin typeface="Mylius Modern" panose="020B0504020202020204" pitchFamily="34" charset="0"/>
              </a:defRPr>
            </a:lvl1pPr>
          </a:lstStyle>
          <a:p>
            <a:pPr lvl="0"/>
            <a:r>
              <a:rPr lang="en-GB"/>
              <a:t>Click to edit Master text styles</a:t>
            </a:r>
          </a:p>
        </p:txBody>
      </p:sp>
      <p:sp>
        <p:nvSpPr>
          <p:cNvPr id="19" name="Text Placeholder 54">
            <a:extLst>
              <a:ext uri="{FF2B5EF4-FFF2-40B4-BE49-F238E27FC236}">
                <a16:creationId xmlns:a16="http://schemas.microsoft.com/office/drawing/2014/main" id="{5E4DAEA8-CDA8-B54D-8988-677ABEA3061A}"/>
              </a:ext>
            </a:extLst>
          </p:cNvPr>
          <p:cNvSpPr>
            <a:spLocks noGrp="1"/>
          </p:cNvSpPr>
          <p:nvPr>
            <p:ph type="body" sz="quarter" idx="13"/>
          </p:nvPr>
        </p:nvSpPr>
        <p:spPr>
          <a:xfrm>
            <a:off x="4225925" y="3788575"/>
            <a:ext cx="7539038" cy="1031875"/>
          </a:xfrm>
          <a:prstGeom prst="rect">
            <a:avLst/>
          </a:prstGeom>
        </p:spPr>
        <p:txBody>
          <a:bodyPr anchor="ctr"/>
          <a:lstStyle>
            <a:lvl1pPr marL="0" indent="0">
              <a:buNone/>
              <a:defRPr>
                <a:solidFill>
                  <a:srgbClr val="0B5574"/>
                </a:solidFill>
                <a:latin typeface="Mylius Modern" panose="020B0504020202020204" pitchFamily="34" charset="0"/>
              </a:defRPr>
            </a:lvl1pPr>
          </a:lstStyle>
          <a:p>
            <a:pPr lvl="0"/>
            <a:r>
              <a:rPr lang="en-GB"/>
              <a:t>Click to edit Master text styles</a:t>
            </a:r>
          </a:p>
        </p:txBody>
      </p:sp>
      <p:sp>
        <p:nvSpPr>
          <p:cNvPr id="20" name="Text Placeholder 54">
            <a:extLst>
              <a:ext uri="{FF2B5EF4-FFF2-40B4-BE49-F238E27FC236}">
                <a16:creationId xmlns:a16="http://schemas.microsoft.com/office/drawing/2014/main" id="{F211E551-8648-4A4C-86AF-876AF9CD00A0}"/>
              </a:ext>
            </a:extLst>
          </p:cNvPr>
          <p:cNvSpPr>
            <a:spLocks noGrp="1"/>
          </p:cNvSpPr>
          <p:nvPr>
            <p:ph type="body" sz="quarter" idx="14"/>
          </p:nvPr>
        </p:nvSpPr>
        <p:spPr>
          <a:xfrm>
            <a:off x="4225925" y="5013729"/>
            <a:ext cx="7539038" cy="1031875"/>
          </a:xfrm>
          <a:prstGeom prst="rect">
            <a:avLst/>
          </a:prstGeom>
        </p:spPr>
        <p:txBody>
          <a:bodyPr anchor="ctr"/>
          <a:lstStyle>
            <a:lvl1pPr marL="0" indent="0">
              <a:buNone/>
              <a:defRPr>
                <a:solidFill>
                  <a:srgbClr val="0B5574"/>
                </a:solidFill>
                <a:latin typeface="Mylius Modern" panose="020B0504020202020204" pitchFamily="34" charset="0"/>
              </a:defRPr>
            </a:lvl1pPr>
          </a:lstStyle>
          <a:p>
            <a:pPr lvl="0"/>
            <a:r>
              <a:rPr lang="en-GB"/>
              <a:t>Click to edit Master text styles</a:t>
            </a:r>
          </a:p>
        </p:txBody>
      </p:sp>
      <p:sp>
        <p:nvSpPr>
          <p:cNvPr id="21" name="Title 1">
            <a:extLst>
              <a:ext uri="{FF2B5EF4-FFF2-40B4-BE49-F238E27FC236}">
                <a16:creationId xmlns:a16="http://schemas.microsoft.com/office/drawing/2014/main" id="{41375E89-CCDD-3544-923E-3FB4D592C35A}"/>
              </a:ext>
            </a:extLst>
          </p:cNvPr>
          <p:cNvSpPr txBox="1">
            <a:spLocks/>
          </p:cNvSpPr>
          <p:nvPr userDrawn="1"/>
        </p:nvSpPr>
        <p:spPr>
          <a:xfrm>
            <a:off x="1158294" y="1751558"/>
            <a:ext cx="2725975" cy="44286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2800" b="0" i="0" kern="1200" spc="600">
                <a:solidFill>
                  <a:schemeClr val="bg1"/>
                </a:solidFill>
                <a:latin typeface="Mylius Modern" panose="020B0504020202020204" pitchFamily="34" charset="0"/>
                <a:ea typeface="+mj-ea"/>
                <a:cs typeface="+mj-cs"/>
              </a:defRPr>
            </a:lvl1pPr>
          </a:lstStyle>
          <a:p>
            <a:r>
              <a:rPr lang="en-GB" sz="2000" b="0" spc="300"/>
              <a:t>Assumption 1</a:t>
            </a:r>
            <a:endParaRPr lang="en-US" sz="2000" b="0" spc="300"/>
          </a:p>
        </p:txBody>
      </p:sp>
      <p:sp>
        <p:nvSpPr>
          <p:cNvPr id="22" name="Title 1">
            <a:extLst>
              <a:ext uri="{FF2B5EF4-FFF2-40B4-BE49-F238E27FC236}">
                <a16:creationId xmlns:a16="http://schemas.microsoft.com/office/drawing/2014/main" id="{253D0D72-0034-4D47-988B-CCE385031E08}"/>
              </a:ext>
            </a:extLst>
          </p:cNvPr>
          <p:cNvSpPr txBox="1">
            <a:spLocks/>
          </p:cNvSpPr>
          <p:nvPr userDrawn="1"/>
        </p:nvSpPr>
        <p:spPr>
          <a:xfrm>
            <a:off x="1158295" y="2919919"/>
            <a:ext cx="2725975" cy="44286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2800" b="0" i="0" kern="1200" spc="600">
                <a:solidFill>
                  <a:schemeClr val="bg1"/>
                </a:solidFill>
                <a:latin typeface="Mylius Modern" panose="020B0504020202020204" pitchFamily="34" charset="0"/>
                <a:ea typeface="+mj-ea"/>
                <a:cs typeface="+mj-cs"/>
              </a:defRPr>
            </a:lvl1pPr>
          </a:lstStyle>
          <a:p>
            <a:r>
              <a:rPr lang="en-GB" sz="2000" b="0" spc="300"/>
              <a:t>Assumption 2</a:t>
            </a:r>
            <a:endParaRPr lang="en-US" sz="2000" b="0" spc="300"/>
          </a:p>
        </p:txBody>
      </p:sp>
      <p:sp>
        <p:nvSpPr>
          <p:cNvPr id="23" name="Title 1">
            <a:extLst>
              <a:ext uri="{FF2B5EF4-FFF2-40B4-BE49-F238E27FC236}">
                <a16:creationId xmlns:a16="http://schemas.microsoft.com/office/drawing/2014/main" id="{AF064D03-DA3E-3845-BAA8-5410B5370177}"/>
              </a:ext>
            </a:extLst>
          </p:cNvPr>
          <p:cNvSpPr txBox="1">
            <a:spLocks/>
          </p:cNvSpPr>
          <p:nvPr userDrawn="1"/>
        </p:nvSpPr>
        <p:spPr>
          <a:xfrm>
            <a:off x="1158295" y="4128512"/>
            <a:ext cx="2725975" cy="44286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2800" b="0" i="0" kern="1200" spc="600">
                <a:solidFill>
                  <a:schemeClr val="bg1"/>
                </a:solidFill>
                <a:latin typeface="Mylius Modern" panose="020B0504020202020204" pitchFamily="34" charset="0"/>
                <a:ea typeface="+mj-ea"/>
                <a:cs typeface="+mj-cs"/>
              </a:defRPr>
            </a:lvl1pPr>
          </a:lstStyle>
          <a:p>
            <a:r>
              <a:rPr lang="en-GB" sz="2000" b="0" spc="300"/>
              <a:t>Assumption 3</a:t>
            </a:r>
            <a:endParaRPr lang="en-US" sz="2000" b="0" spc="300"/>
          </a:p>
        </p:txBody>
      </p:sp>
      <p:sp>
        <p:nvSpPr>
          <p:cNvPr id="24" name="Title 1">
            <a:extLst>
              <a:ext uri="{FF2B5EF4-FFF2-40B4-BE49-F238E27FC236}">
                <a16:creationId xmlns:a16="http://schemas.microsoft.com/office/drawing/2014/main" id="{CB89BAD8-8952-5A44-B08D-9DE6EC3BD2B4}"/>
              </a:ext>
            </a:extLst>
          </p:cNvPr>
          <p:cNvSpPr txBox="1">
            <a:spLocks/>
          </p:cNvSpPr>
          <p:nvPr userDrawn="1"/>
        </p:nvSpPr>
        <p:spPr>
          <a:xfrm>
            <a:off x="1158295" y="5368760"/>
            <a:ext cx="2725975" cy="44286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2800" b="0" i="0" kern="1200" spc="600">
                <a:solidFill>
                  <a:schemeClr val="bg1"/>
                </a:solidFill>
                <a:latin typeface="Mylius Modern" panose="020B0504020202020204" pitchFamily="34" charset="0"/>
                <a:ea typeface="+mj-ea"/>
                <a:cs typeface="+mj-cs"/>
              </a:defRPr>
            </a:lvl1pPr>
          </a:lstStyle>
          <a:p>
            <a:r>
              <a:rPr lang="en-GB" sz="2000" b="0" spc="300"/>
              <a:t>Assumption 4</a:t>
            </a:r>
            <a:endParaRPr lang="en-US" sz="2000" b="0" spc="300"/>
          </a:p>
        </p:txBody>
      </p:sp>
      <p:sp>
        <p:nvSpPr>
          <p:cNvPr id="13" name="TextBox 12">
            <a:extLst>
              <a:ext uri="{FF2B5EF4-FFF2-40B4-BE49-F238E27FC236}">
                <a16:creationId xmlns:a16="http://schemas.microsoft.com/office/drawing/2014/main" id="{B9B45082-F48A-6A49-F47F-71A7AC6B73A4}"/>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rgbClr val="E37A76"/>
                </a:solidFill>
                <a:latin typeface="Mylius Modern" panose="020B0504020202020204" pitchFamily="34" charset="0"/>
              </a:rPr>
              <a:t>INFORMATION FOR BRITISH AIRWAYS INTERNAL USE ONLY</a:t>
            </a:r>
          </a:p>
        </p:txBody>
      </p:sp>
      <p:sp>
        <p:nvSpPr>
          <p:cNvPr id="14" name="Title 1">
            <a:extLst>
              <a:ext uri="{FF2B5EF4-FFF2-40B4-BE49-F238E27FC236}">
                <a16:creationId xmlns:a16="http://schemas.microsoft.com/office/drawing/2014/main" id="{5309C65E-AD52-87CD-C689-73FD210C9208}"/>
              </a:ext>
            </a:extLst>
          </p:cNvPr>
          <p:cNvSpPr>
            <a:spLocks noGrp="1"/>
          </p:cNvSpPr>
          <p:nvPr>
            <p:ph type="title" hasCustomPrompt="1"/>
          </p:nvPr>
        </p:nvSpPr>
        <p:spPr>
          <a:xfrm>
            <a:off x="343672" y="298938"/>
            <a:ext cx="9537746" cy="659423"/>
          </a:xfrm>
          <a:prstGeom prst="rect">
            <a:avLst/>
          </a:prstGeom>
        </p:spPr>
        <p:txBody>
          <a:bodyPr/>
          <a:lstStyle>
            <a:lvl1pPr>
              <a:defRPr sz="2000" spc="600">
                <a:solidFill>
                  <a:schemeClr val="bg1"/>
                </a:solidFill>
                <a:latin typeface="Mylius Modern" panose="020B0504020202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26121080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Q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7EF6F1C-695B-C36C-2566-64AF0313FD02}"/>
              </a:ext>
            </a:extLst>
          </p:cNvPr>
          <p:cNvSpPr>
            <a:spLocks noGrp="1"/>
          </p:cNvSpPr>
          <p:nvPr>
            <p:ph type="title" hasCustomPrompt="1"/>
          </p:nvPr>
        </p:nvSpPr>
        <p:spPr>
          <a:xfrm>
            <a:off x="343672" y="298938"/>
            <a:ext cx="9537746" cy="659423"/>
          </a:xfrm>
          <a:prstGeom prst="rect">
            <a:avLst/>
          </a:prstGeom>
        </p:spPr>
        <p:txBody>
          <a:bodyPr/>
          <a:lstStyle>
            <a:lvl1pPr>
              <a:defRPr sz="2000" spc="600">
                <a:solidFill>
                  <a:schemeClr val="bg1"/>
                </a:solidFill>
                <a:latin typeface="Mylius Modern" panose="020B0504020202020204" pitchFamily="34" charset="0"/>
              </a:defRPr>
            </a:lvl1pPr>
          </a:lstStyle>
          <a:p>
            <a:r>
              <a:rPr lang="en-GB"/>
              <a:t>CLICK TO EDIT MASTER TITLE STYLE</a:t>
            </a:r>
            <a:endParaRPr lang="en-US"/>
          </a:p>
        </p:txBody>
      </p:sp>
      <p:sp>
        <p:nvSpPr>
          <p:cNvPr id="5" name="TextBox 4">
            <a:extLst>
              <a:ext uri="{FF2B5EF4-FFF2-40B4-BE49-F238E27FC236}">
                <a16:creationId xmlns:a16="http://schemas.microsoft.com/office/drawing/2014/main" id="{12E63EFB-B154-6F17-D932-78E4E5733C0D}"/>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rgbClr val="E37A76"/>
                </a:solidFill>
                <a:latin typeface="Mylius Modern" panose="020B0504020202020204" pitchFamily="34" charset="0"/>
              </a:rPr>
              <a:t>INFORMATION FOR BRITISH AIRWAYS INTERNAL USE ONLY</a:t>
            </a:r>
          </a:p>
        </p:txBody>
      </p:sp>
      <p:sp>
        <p:nvSpPr>
          <p:cNvPr id="26" name="Freeform 14">
            <a:extLst>
              <a:ext uri="{FF2B5EF4-FFF2-40B4-BE49-F238E27FC236}">
                <a16:creationId xmlns:a16="http://schemas.microsoft.com/office/drawing/2014/main" id="{5296147A-13AF-C2AA-955F-5B9C7F1D3898}"/>
              </a:ext>
            </a:extLst>
          </p:cNvPr>
          <p:cNvSpPr/>
          <p:nvPr userDrawn="1"/>
        </p:nvSpPr>
        <p:spPr>
          <a:xfrm>
            <a:off x="344568" y="1687495"/>
            <a:ext cx="2696865" cy="780125"/>
          </a:xfrm>
          <a:custGeom>
            <a:avLst/>
            <a:gdLst>
              <a:gd name="connsiteX0" fmla="*/ 2743200 w 2743200"/>
              <a:gd name="connsiteY0" fmla="*/ 0 h 773084"/>
              <a:gd name="connsiteX1" fmla="*/ 0 w 2743200"/>
              <a:gd name="connsiteY1" fmla="*/ 399011 h 773084"/>
              <a:gd name="connsiteX2" fmla="*/ 964276 w 2743200"/>
              <a:gd name="connsiteY2" fmla="*/ 689957 h 773084"/>
              <a:gd name="connsiteX3" fmla="*/ 2743200 w 2743200"/>
              <a:gd name="connsiteY3" fmla="*/ 773084 h 773084"/>
              <a:gd name="connsiteX0" fmla="*/ 2743200 w 2743200"/>
              <a:gd name="connsiteY0" fmla="*/ 0 h 773084"/>
              <a:gd name="connsiteX1" fmla="*/ 0 w 2743200"/>
              <a:gd name="connsiteY1" fmla="*/ 399011 h 773084"/>
              <a:gd name="connsiteX2" fmla="*/ 1005416 w 2743200"/>
              <a:gd name="connsiteY2" fmla="*/ 704115 h 773084"/>
              <a:gd name="connsiteX3" fmla="*/ 2743200 w 2743200"/>
              <a:gd name="connsiteY3" fmla="*/ 773084 h 773084"/>
              <a:gd name="connsiteX0" fmla="*/ 2740779 w 2740779"/>
              <a:gd name="connsiteY0" fmla="*/ 0 h 773084"/>
              <a:gd name="connsiteX1" fmla="*/ 0 w 2740779"/>
              <a:gd name="connsiteY1" fmla="*/ 401370 h 773084"/>
              <a:gd name="connsiteX2" fmla="*/ 1002995 w 2740779"/>
              <a:gd name="connsiteY2" fmla="*/ 704115 h 773084"/>
              <a:gd name="connsiteX3" fmla="*/ 2740779 w 2740779"/>
              <a:gd name="connsiteY3" fmla="*/ 773084 h 773084"/>
            </a:gdLst>
            <a:ahLst/>
            <a:cxnLst>
              <a:cxn ang="0">
                <a:pos x="connsiteX0" y="connsiteY0"/>
              </a:cxn>
              <a:cxn ang="0">
                <a:pos x="connsiteX1" y="connsiteY1"/>
              </a:cxn>
              <a:cxn ang="0">
                <a:pos x="connsiteX2" y="connsiteY2"/>
              </a:cxn>
              <a:cxn ang="0">
                <a:pos x="connsiteX3" y="connsiteY3"/>
              </a:cxn>
            </a:cxnLst>
            <a:rect l="l" t="t" r="r" b="b"/>
            <a:pathLst>
              <a:path w="2740779" h="773084">
                <a:moveTo>
                  <a:pt x="2740779" y="0"/>
                </a:moveTo>
                <a:lnTo>
                  <a:pt x="0" y="401370"/>
                </a:lnTo>
                <a:lnTo>
                  <a:pt x="1002995" y="704115"/>
                </a:lnTo>
                <a:lnTo>
                  <a:pt x="2740779" y="773084"/>
                </a:lnTo>
              </a:path>
            </a:pathLst>
          </a:custGeom>
          <a:solidFill>
            <a:srgbClr val="0B557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90000"/>
              </a:lnSpc>
            </a:pPr>
            <a:endParaRPr lang="en-US"/>
          </a:p>
        </p:txBody>
      </p:sp>
      <p:sp>
        <p:nvSpPr>
          <p:cNvPr id="27" name="Freeform 15">
            <a:extLst>
              <a:ext uri="{FF2B5EF4-FFF2-40B4-BE49-F238E27FC236}">
                <a16:creationId xmlns:a16="http://schemas.microsoft.com/office/drawing/2014/main" id="{10253D3F-F126-E266-E3FF-012052227225}"/>
              </a:ext>
            </a:extLst>
          </p:cNvPr>
          <p:cNvSpPr/>
          <p:nvPr userDrawn="1"/>
        </p:nvSpPr>
        <p:spPr>
          <a:xfrm>
            <a:off x="1368964" y="2444943"/>
            <a:ext cx="1681994" cy="888958"/>
          </a:xfrm>
          <a:custGeom>
            <a:avLst/>
            <a:gdLst>
              <a:gd name="connsiteX0" fmla="*/ 1704110 w 1712422"/>
              <a:gd name="connsiteY0" fmla="*/ 108066 h 847898"/>
              <a:gd name="connsiteX1" fmla="*/ 0 w 1712422"/>
              <a:gd name="connsiteY1" fmla="*/ 0 h 847898"/>
              <a:gd name="connsiteX2" fmla="*/ 581891 w 1712422"/>
              <a:gd name="connsiteY2" fmla="*/ 773084 h 847898"/>
              <a:gd name="connsiteX3" fmla="*/ 1712422 w 1712422"/>
              <a:gd name="connsiteY3" fmla="*/ 847898 h 847898"/>
              <a:gd name="connsiteX0" fmla="*/ 1704110 w 1719800"/>
              <a:gd name="connsiteY0" fmla="*/ 108066 h 862057"/>
              <a:gd name="connsiteX1" fmla="*/ 0 w 1719800"/>
              <a:gd name="connsiteY1" fmla="*/ 0 h 862057"/>
              <a:gd name="connsiteX2" fmla="*/ 581891 w 1719800"/>
              <a:gd name="connsiteY2" fmla="*/ 773084 h 862057"/>
              <a:gd name="connsiteX3" fmla="*/ 1719800 w 1719800"/>
              <a:gd name="connsiteY3" fmla="*/ 862057 h 862057"/>
              <a:gd name="connsiteX0" fmla="*/ 1704110 w 1722259"/>
              <a:gd name="connsiteY0" fmla="*/ 108066 h 866776"/>
              <a:gd name="connsiteX1" fmla="*/ 0 w 1722259"/>
              <a:gd name="connsiteY1" fmla="*/ 0 h 866776"/>
              <a:gd name="connsiteX2" fmla="*/ 581891 w 1722259"/>
              <a:gd name="connsiteY2" fmla="*/ 773084 h 866776"/>
              <a:gd name="connsiteX3" fmla="*/ 1722259 w 1722259"/>
              <a:gd name="connsiteY3" fmla="*/ 866776 h 866776"/>
              <a:gd name="connsiteX0" fmla="*/ 1704110 w 1722259"/>
              <a:gd name="connsiteY0" fmla="*/ 108066 h 866776"/>
              <a:gd name="connsiteX1" fmla="*/ 0 w 1722259"/>
              <a:gd name="connsiteY1" fmla="*/ 0 h 866776"/>
              <a:gd name="connsiteX2" fmla="*/ 601564 w 1722259"/>
              <a:gd name="connsiteY2" fmla="*/ 782523 h 866776"/>
              <a:gd name="connsiteX3" fmla="*/ 1722259 w 1722259"/>
              <a:gd name="connsiteY3" fmla="*/ 866776 h 866776"/>
              <a:gd name="connsiteX0" fmla="*/ 1718864 w 1737013"/>
              <a:gd name="connsiteY0" fmla="*/ 122225 h 880935"/>
              <a:gd name="connsiteX1" fmla="*/ 0 w 1737013"/>
              <a:gd name="connsiteY1" fmla="*/ 0 h 880935"/>
              <a:gd name="connsiteX2" fmla="*/ 616318 w 1737013"/>
              <a:gd name="connsiteY2" fmla="*/ 796682 h 880935"/>
              <a:gd name="connsiteX3" fmla="*/ 1737013 w 1737013"/>
              <a:gd name="connsiteY3" fmla="*/ 880935 h 880935"/>
            </a:gdLst>
            <a:ahLst/>
            <a:cxnLst>
              <a:cxn ang="0">
                <a:pos x="connsiteX0" y="connsiteY0"/>
              </a:cxn>
              <a:cxn ang="0">
                <a:pos x="connsiteX1" y="connsiteY1"/>
              </a:cxn>
              <a:cxn ang="0">
                <a:pos x="connsiteX2" y="connsiteY2"/>
              </a:cxn>
              <a:cxn ang="0">
                <a:pos x="connsiteX3" y="connsiteY3"/>
              </a:cxn>
            </a:cxnLst>
            <a:rect l="l" t="t" r="r" b="b"/>
            <a:pathLst>
              <a:path w="1737013" h="880935">
                <a:moveTo>
                  <a:pt x="1718864" y="122225"/>
                </a:moveTo>
                <a:lnTo>
                  <a:pt x="0" y="0"/>
                </a:lnTo>
                <a:lnTo>
                  <a:pt x="616318" y="796682"/>
                </a:lnTo>
                <a:lnTo>
                  <a:pt x="1737013" y="880935"/>
                </a:lnTo>
              </a:path>
            </a:pathLst>
          </a:custGeom>
          <a:solidFill>
            <a:srgbClr val="445F7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90000"/>
              </a:lnSpc>
            </a:pPr>
            <a:endParaRPr lang="en-US"/>
          </a:p>
        </p:txBody>
      </p:sp>
      <p:sp>
        <p:nvSpPr>
          <p:cNvPr id="28" name="Freeform 16">
            <a:extLst>
              <a:ext uri="{FF2B5EF4-FFF2-40B4-BE49-F238E27FC236}">
                <a16:creationId xmlns:a16="http://schemas.microsoft.com/office/drawing/2014/main" id="{CB729936-C4BB-042B-5B6D-24A9B310D56A}"/>
              </a:ext>
            </a:extLst>
          </p:cNvPr>
          <p:cNvSpPr/>
          <p:nvPr userDrawn="1"/>
        </p:nvSpPr>
        <p:spPr>
          <a:xfrm>
            <a:off x="1999563" y="3311671"/>
            <a:ext cx="1041870" cy="1009650"/>
          </a:xfrm>
          <a:custGeom>
            <a:avLst/>
            <a:gdLst>
              <a:gd name="connsiteX0" fmla="*/ 1097280 w 1097280"/>
              <a:gd name="connsiteY0" fmla="*/ 83128 h 939338"/>
              <a:gd name="connsiteX1" fmla="*/ 0 w 1097280"/>
              <a:gd name="connsiteY1" fmla="*/ 0 h 939338"/>
              <a:gd name="connsiteX2" fmla="*/ 0 w 1097280"/>
              <a:gd name="connsiteY2" fmla="*/ 939338 h 939338"/>
              <a:gd name="connsiteX3" fmla="*/ 1088968 w 1097280"/>
              <a:gd name="connsiteY3" fmla="*/ 831273 h 939338"/>
            </a:gdLst>
            <a:ahLst/>
            <a:cxnLst>
              <a:cxn ang="0">
                <a:pos x="connsiteX0" y="connsiteY0"/>
              </a:cxn>
              <a:cxn ang="0">
                <a:pos x="connsiteX1" y="connsiteY1"/>
              </a:cxn>
              <a:cxn ang="0">
                <a:pos x="connsiteX2" y="connsiteY2"/>
              </a:cxn>
              <a:cxn ang="0">
                <a:pos x="connsiteX3" y="connsiteY3"/>
              </a:cxn>
            </a:cxnLst>
            <a:rect l="l" t="t" r="r" b="b"/>
            <a:pathLst>
              <a:path w="1097280" h="939338">
                <a:moveTo>
                  <a:pt x="1097280" y="83128"/>
                </a:moveTo>
                <a:lnTo>
                  <a:pt x="0" y="0"/>
                </a:lnTo>
                <a:lnTo>
                  <a:pt x="0" y="939338"/>
                </a:lnTo>
                <a:lnTo>
                  <a:pt x="1088968" y="831273"/>
                </a:lnTo>
              </a:path>
            </a:pathLst>
          </a:custGeom>
          <a:solidFill>
            <a:srgbClr val="826A7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90000"/>
              </a:lnSpc>
            </a:pPr>
            <a:endParaRPr lang="en-US"/>
          </a:p>
        </p:txBody>
      </p:sp>
      <p:sp>
        <p:nvSpPr>
          <p:cNvPr id="29" name="Freeform 17">
            <a:extLst>
              <a:ext uri="{FF2B5EF4-FFF2-40B4-BE49-F238E27FC236}">
                <a16:creationId xmlns:a16="http://schemas.microsoft.com/office/drawing/2014/main" id="{AD91896A-036A-9317-93F1-E7F2BACD1B71}"/>
              </a:ext>
            </a:extLst>
          </p:cNvPr>
          <p:cNvSpPr/>
          <p:nvPr userDrawn="1"/>
        </p:nvSpPr>
        <p:spPr>
          <a:xfrm flipV="1">
            <a:off x="1376107" y="4306300"/>
            <a:ext cx="1665326" cy="879432"/>
          </a:xfrm>
          <a:custGeom>
            <a:avLst/>
            <a:gdLst>
              <a:gd name="connsiteX0" fmla="*/ 1704110 w 1712422"/>
              <a:gd name="connsiteY0" fmla="*/ 108066 h 847898"/>
              <a:gd name="connsiteX1" fmla="*/ 0 w 1712422"/>
              <a:gd name="connsiteY1" fmla="*/ 0 h 847898"/>
              <a:gd name="connsiteX2" fmla="*/ 581891 w 1712422"/>
              <a:gd name="connsiteY2" fmla="*/ 773084 h 847898"/>
              <a:gd name="connsiteX3" fmla="*/ 1712422 w 1712422"/>
              <a:gd name="connsiteY3" fmla="*/ 847898 h 847898"/>
              <a:gd name="connsiteX0" fmla="*/ 1704110 w 1712422"/>
              <a:gd name="connsiteY0" fmla="*/ 108066 h 847898"/>
              <a:gd name="connsiteX1" fmla="*/ 0 w 1712422"/>
              <a:gd name="connsiteY1" fmla="*/ 0 h 847898"/>
              <a:gd name="connsiteX2" fmla="*/ 611401 w 1712422"/>
              <a:gd name="connsiteY2" fmla="*/ 770725 h 847898"/>
              <a:gd name="connsiteX3" fmla="*/ 1712422 w 1712422"/>
              <a:gd name="connsiteY3" fmla="*/ 847898 h 847898"/>
              <a:gd name="connsiteX0" fmla="*/ 1711488 w 1719800"/>
              <a:gd name="connsiteY0" fmla="*/ 131663 h 871495"/>
              <a:gd name="connsiteX1" fmla="*/ 0 w 1719800"/>
              <a:gd name="connsiteY1" fmla="*/ 0 h 871495"/>
              <a:gd name="connsiteX2" fmla="*/ 618779 w 1719800"/>
              <a:gd name="connsiteY2" fmla="*/ 794322 h 871495"/>
              <a:gd name="connsiteX3" fmla="*/ 1719800 w 1719800"/>
              <a:gd name="connsiteY3" fmla="*/ 871495 h 871495"/>
              <a:gd name="connsiteX0" fmla="*/ 1713947 w 1719800"/>
              <a:gd name="connsiteY0" fmla="*/ 117505 h 871495"/>
              <a:gd name="connsiteX1" fmla="*/ 0 w 1719800"/>
              <a:gd name="connsiteY1" fmla="*/ 0 h 871495"/>
              <a:gd name="connsiteX2" fmla="*/ 618779 w 1719800"/>
              <a:gd name="connsiteY2" fmla="*/ 794322 h 871495"/>
              <a:gd name="connsiteX3" fmla="*/ 1719800 w 1719800"/>
              <a:gd name="connsiteY3" fmla="*/ 871495 h 871495"/>
            </a:gdLst>
            <a:ahLst/>
            <a:cxnLst>
              <a:cxn ang="0">
                <a:pos x="connsiteX0" y="connsiteY0"/>
              </a:cxn>
              <a:cxn ang="0">
                <a:pos x="connsiteX1" y="connsiteY1"/>
              </a:cxn>
              <a:cxn ang="0">
                <a:pos x="connsiteX2" y="connsiteY2"/>
              </a:cxn>
              <a:cxn ang="0">
                <a:pos x="connsiteX3" y="connsiteY3"/>
              </a:cxn>
            </a:cxnLst>
            <a:rect l="l" t="t" r="r" b="b"/>
            <a:pathLst>
              <a:path w="1719800" h="871495">
                <a:moveTo>
                  <a:pt x="1713947" y="117505"/>
                </a:moveTo>
                <a:lnTo>
                  <a:pt x="0" y="0"/>
                </a:lnTo>
                <a:lnTo>
                  <a:pt x="618779" y="794322"/>
                </a:lnTo>
                <a:lnTo>
                  <a:pt x="1719800" y="871495"/>
                </a:lnTo>
              </a:path>
            </a:pathLst>
          </a:custGeom>
          <a:solidFill>
            <a:srgbClr val="9B6E7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90000"/>
              </a:lnSpc>
            </a:pPr>
            <a:endParaRPr lang="en-US"/>
          </a:p>
        </p:txBody>
      </p:sp>
      <p:sp>
        <p:nvSpPr>
          <p:cNvPr id="30" name="Freeform 18">
            <a:extLst>
              <a:ext uri="{FF2B5EF4-FFF2-40B4-BE49-F238E27FC236}">
                <a16:creationId xmlns:a16="http://schemas.microsoft.com/office/drawing/2014/main" id="{7C8CBBBB-AD6C-EF88-F707-59DED3348E79}"/>
              </a:ext>
            </a:extLst>
          </p:cNvPr>
          <p:cNvSpPr/>
          <p:nvPr userDrawn="1"/>
        </p:nvSpPr>
        <p:spPr>
          <a:xfrm flipV="1">
            <a:off x="342187" y="5162956"/>
            <a:ext cx="2706390" cy="775363"/>
          </a:xfrm>
          <a:custGeom>
            <a:avLst/>
            <a:gdLst>
              <a:gd name="connsiteX0" fmla="*/ 2743200 w 2743200"/>
              <a:gd name="connsiteY0" fmla="*/ 0 h 773084"/>
              <a:gd name="connsiteX1" fmla="*/ 0 w 2743200"/>
              <a:gd name="connsiteY1" fmla="*/ 399011 h 773084"/>
              <a:gd name="connsiteX2" fmla="*/ 964276 w 2743200"/>
              <a:gd name="connsiteY2" fmla="*/ 689957 h 773084"/>
              <a:gd name="connsiteX3" fmla="*/ 2743200 w 2743200"/>
              <a:gd name="connsiteY3" fmla="*/ 773084 h 773084"/>
              <a:gd name="connsiteX0" fmla="*/ 2743200 w 2743200"/>
              <a:gd name="connsiteY0" fmla="*/ 0 h 773084"/>
              <a:gd name="connsiteX1" fmla="*/ 0 w 2743200"/>
              <a:gd name="connsiteY1" fmla="*/ 399011 h 773084"/>
              <a:gd name="connsiteX2" fmla="*/ 1000576 w 2743200"/>
              <a:gd name="connsiteY2" fmla="*/ 701756 h 773084"/>
              <a:gd name="connsiteX3" fmla="*/ 2743200 w 2743200"/>
              <a:gd name="connsiteY3" fmla="*/ 773084 h 773084"/>
              <a:gd name="connsiteX0" fmla="*/ 2745620 w 2745620"/>
              <a:gd name="connsiteY0" fmla="*/ 0 h 763645"/>
              <a:gd name="connsiteX1" fmla="*/ 0 w 2745620"/>
              <a:gd name="connsiteY1" fmla="*/ 389572 h 763645"/>
              <a:gd name="connsiteX2" fmla="*/ 1000576 w 2745620"/>
              <a:gd name="connsiteY2" fmla="*/ 692317 h 763645"/>
              <a:gd name="connsiteX3" fmla="*/ 2743200 w 2745620"/>
              <a:gd name="connsiteY3" fmla="*/ 763645 h 763645"/>
              <a:gd name="connsiteX0" fmla="*/ 2750460 w 2750460"/>
              <a:gd name="connsiteY0" fmla="*/ 0 h 768365"/>
              <a:gd name="connsiteX1" fmla="*/ 0 w 2750460"/>
              <a:gd name="connsiteY1" fmla="*/ 394292 h 768365"/>
              <a:gd name="connsiteX2" fmla="*/ 1000576 w 2750460"/>
              <a:gd name="connsiteY2" fmla="*/ 697037 h 768365"/>
              <a:gd name="connsiteX3" fmla="*/ 2743200 w 2750460"/>
              <a:gd name="connsiteY3" fmla="*/ 768365 h 768365"/>
            </a:gdLst>
            <a:ahLst/>
            <a:cxnLst>
              <a:cxn ang="0">
                <a:pos x="connsiteX0" y="connsiteY0"/>
              </a:cxn>
              <a:cxn ang="0">
                <a:pos x="connsiteX1" y="connsiteY1"/>
              </a:cxn>
              <a:cxn ang="0">
                <a:pos x="connsiteX2" y="connsiteY2"/>
              </a:cxn>
              <a:cxn ang="0">
                <a:pos x="connsiteX3" y="connsiteY3"/>
              </a:cxn>
            </a:cxnLst>
            <a:rect l="l" t="t" r="r" b="b"/>
            <a:pathLst>
              <a:path w="2750460" h="768365">
                <a:moveTo>
                  <a:pt x="2750460" y="0"/>
                </a:moveTo>
                <a:lnTo>
                  <a:pt x="0" y="394292"/>
                </a:lnTo>
                <a:lnTo>
                  <a:pt x="1000576" y="697037"/>
                </a:lnTo>
                <a:lnTo>
                  <a:pt x="2743200" y="768365"/>
                </a:lnTo>
              </a:path>
            </a:pathLst>
          </a:custGeom>
          <a:solidFill>
            <a:srgbClr val="E37A76"/>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90000"/>
              </a:lnSpc>
            </a:pPr>
            <a:endParaRPr lang="en-US"/>
          </a:p>
        </p:txBody>
      </p:sp>
      <p:sp>
        <p:nvSpPr>
          <p:cNvPr id="37" name="Freeform 31">
            <a:extLst>
              <a:ext uri="{FF2B5EF4-FFF2-40B4-BE49-F238E27FC236}">
                <a16:creationId xmlns:a16="http://schemas.microsoft.com/office/drawing/2014/main" id="{288B52F3-381D-2C88-EFF9-ACB11A9180FA}"/>
              </a:ext>
            </a:extLst>
          </p:cNvPr>
          <p:cNvSpPr>
            <a:spLocks/>
          </p:cNvSpPr>
          <p:nvPr userDrawn="1"/>
        </p:nvSpPr>
        <p:spPr bwMode="gray">
          <a:xfrm rot="16200000">
            <a:off x="344785" y="2072966"/>
            <a:ext cx="989910" cy="1007479"/>
          </a:xfrm>
          <a:custGeom>
            <a:avLst/>
            <a:gdLst/>
            <a:ahLst/>
            <a:cxnLst>
              <a:cxn ang="0">
                <a:pos x="637" y="925"/>
              </a:cxn>
              <a:cxn ang="0">
                <a:pos x="940" y="0"/>
              </a:cxn>
              <a:cxn ang="0">
                <a:pos x="152" y="0"/>
              </a:cxn>
              <a:cxn ang="0">
                <a:pos x="0" y="462"/>
              </a:cxn>
              <a:cxn ang="0">
                <a:pos x="637" y="925"/>
              </a:cxn>
            </a:cxnLst>
            <a:rect l="0" t="0" r="r" b="b"/>
            <a:pathLst>
              <a:path w="940" h="925">
                <a:moveTo>
                  <a:pt x="637" y="925"/>
                </a:moveTo>
                <a:cubicBezTo>
                  <a:pt x="834" y="657"/>
                  <a:pt x="940" y="333"/>
                  <a:pt x="940" y="0"/>
                </a:cubicBezTo>
                <a:lnTo>
                  <a:pt x="152" y="0"/>
                </a:lnTo>
                <a:cubicBezTo>
                  <a:pt x="152" y="166"/>
                  <a:pt x="99" y="328"/>
                  <a:pt x="0" y="462"/>
                </a:cubicBezTo>
                <a:lnTo>
                  <a:pt x="637" y="925"/>
                </a:lnTo>
                <a:close/>
              </a:path>
            </a:pathLst>
          </a:custGeom>
          <a:solidFill>
            <a:srgbClr val="085574"/>
          </a:solidFill>
          <a:ln w="12700" cmpd="sng">
            <a:solidFill>
              <a:schemeClr val="bg1"/>
            </a:solidFill>
            <a:miter lim="800000"/>
            <a:headEnd/>
            <a:tailEnd/>
          </a:ln>
          <a:effectLst/>
        </p:spPr>
        <p:txBody>
          <a:bodyPr>
            <a:noAutofit/>
          </a:bodyPr>
          <a:lstStyle/>
          <a:p>
            <a:pPr>
              <a:lnSpc>
                <a:spcPct val="90000"/>
              </a:lnSpc>
            </a:pPr>
            <a:endParaRPr lang="en-US" sz="1400"/>
          </a:p>
        </p:txBody>
      </p:sp>
      <p:sp>
        <p:nvSpPr>
          <p:cNvPr id="38" name="Freeform 33">
            <a:extLst>
              <a:ext uri="{FF2B5EF4-FFF2-40B4-BE49-F238E27FC236}">
                <a16:creationId xmlns:a16="http://schemas.microsoft.com/office/drawing/2014/main" id="{3FCB6B46-A56B-2BE9-4D4B-C94A8E8DE3B9}"/>
              </a:ext>
            </a:extLst>
          </p:cNvPr>
          <p:cNvSpPr>
            <a:spLocks/>
          </p:cNvSpPr>
          <p:nvPr userDrawn="1"/>
        </p:nvSpPr>
        <p:spPr bwMode="gray">
          <a:xfrm rot="16200000">
            <a:off x="893660" y="2408949"/>
            <a:ext cx="1079647" cy="1120711"/>
          </a:xfrm>
          <a:custGeom>
            <a:avLst/>
            <a:gdLst/>
            <a:ahLst/>
            <a:cxnLst>
              <a:cxn ang="0">
                <a:pos x="242" y="1031"/>
              </a:cxn>
              <a:cxn ang="0">
                <a:pos x="1026" y="461"/>
              </a:cxn>
              <a:cxn ang="0">
                <a:pos x="392" y="0"/>
              </a:cxn>
              <a:cxn ang="0">
                <a:pos x="0" y="285"/>
              </a:cxn>
              <a:cxn ang="0">
                <a:pos x="242" y="1031"/>
              </a:cxn>
            </a:cxnLst>
            <a:rect l="0" t="0" r="r" b="b"/>
            <a:pathLst>
              <a:path w="1026" h="1031">
                <a:moveTo>
                  <a:pt x="242" y="1031"/>
                </a:moveTo>
                <a:cubicBezTo>
                  <a:pt x="557" y="928"/>
                  <a:pt x="831" y="729"/>
                  <a:pt x="1026" y="461"/>
                </a:cubicBezTo>
                <a:lnTo>
                  <a:pt x="392" y="0"/>
                </a:lnTo>
                <a:cubicBezTo>
                  <a:pt x="294" y="134"/>
                  <a:pt x="157" y="234"/>
                  <a:pt x="0" y="285"/>
                </a:cubicBezTo>
                <a:lnTo>
                  <a:pt x="242" y="1031"/>
                </a:lnTo>
                <a:close/>
              </a:path>
            </a:pathLst>
          </a:custGeom>
          <a:solidFill>
            <a:srgbClr val="445F75"/>
          </a:solidFill>
          <a:ln w="12700" cmpd="sng">
            <a:solidFill>
              <a:schemeClr val="bg1"/>
            </a:solidFill>
            <a:miter lim="800000"/>
            <a:headEnd/>
            <a:tailEnd/>
          </a:ln>
          <a:effectLst/>
        </p:spPr>
        <p:txBody>
          <a:bodyPr>
            <a:noAutofit/>
          </a:bodyPr>
          <a:lstStyle/>
          <a:p>
            <a:pPr>
              <a:lnSpc>
                <a:spcPct val="90000"/>
              </a:lnSpc>
            </a:pPr>
            <a:endParaRPr lang="en-US" sz="1400"/>
          </a:p>
        </p:txBody>
      </p:sp>
      <p:sp>
        <p:nvSpPr>
          <p:cNvPr id="39" name="Freeform 35">
            <a:extLst>
              <a:ext uri="{FF2B5EF4-FFF2-40B4-BE49-F238E27FC236}">
                <a16:creationId xmlns:a16="http://schemas.microsoft.com/office/drawing/2014/main" id="{AF42289B-F6A2-8FE4-3FED-1C33D968679A}"/>
              </a:ext>
            </a:extLst>
          </p:cNvPr>
          <p:cNvSpPr>
            <a:spLocks/>
          </p:cNvSpPr>
          <p:nvPr userDrawn="1"/>
        </p:nvSpPr>
        <p:spPr bwMode="gray">
          <a:xfrm rot="16200000">
            <a:off x="1152473" y="3353155"/>
            <a:ext cx="1020757" cy="923279"/>
          </a:xfrm>
          <a:custGeom>
            <a:avLst/>
            <a:gdLst/>
            <a:ahLst/>
            <a:cxnLst>
              <a:cxn ang="0">
                <a:pos x="0" y="746"/>
              </a:cxn>
              <a:cxn ang="0">
                <a:pos x="969" y="746"/>
              </a:cxn>
              <a:cxn ang="0">
                <a:pos x="727" y="0"/>
              </a:cxn>
              <a:cxn ang="0">
                <a:pos x="242" y="0"/>
              </a:cxn>
              <a:cxn ang="0">
                <a:pos x="0" y="746"/>
              </a:cxn>
            </a:cxnLst>
            <a:rect l="0" t="0" r="r" b="b"/>
            <a:pathLst>
              <a:path w="969" h="848">
                <a:moveTo>
                  <a:pt x="0" y="746"/>
                </a:moveTo>
                <a:cubicBezTo>
                  <a:pt x="315" y="848"/>
                  <a:pt x="654" y="848"/>
                  <a:pt x="969" y="746"/>
                </a:cubicBezTo>
                <a:lnTo>
                  <a:pt x="727" y="0"/>
                </a:lnTo>
                <a:cubicBezTo>
                  <a:pt x="569" y="51"/>
                  <a:pt x="400" y="51"/>
                  <a:pt x="242" y="0"/>
                </a:cubicBezTo>
                <a:lnTo>
                  <a:pt x="0" y="746"/>
                </a:lnTo>
                <a:close/>
              </a:path>
            </a:pathLst>
          </a:custGeom>
          <a:solidFill>
            <a:srgbClr val="826A74"/>
          </a:solidFill>
          <a:ln w="12700" cmpd="sng">
            <a:solidFill>
              <a:schemeClr val="bg1"/>
            </a:solidFill>
            <a:miter lim="800000"/>
            <a:headEnd/>
            <a:tailEnd/>
          </a:ln>
          <a:effectLst/>
        </p:spPr>
        <p:txBody>
          <a:bodyPr>
            <a:noAutofit/>
          </a:bodyPr>
          <a:lstStyle/>
          <a:p>
            <a:pPr>
              <a:lnSpc>
                <a:spcPct val="90000"/>
              </a:lnSpc>
            </a:pPr>
            <a:endParaRPr lang="en-US" sz="1400"/>
          </a:p>
        </p:txBody>
      </p:sp>
      <p:sp>
        <p:nvSpPr>
          <p:cNvPr id="40" name="Freeform 39">
            <a:extLst>
              <a:ext uri="{FF2B5EF4-FFF2-40B4-BE49-F238E27FC236}">
                <a16:creationId xmlns:a16="http://schemas.microsoft.com/office/drawing/2014/main" id="{ACBC201D-85B7-9477-5DBE-25AD11654391}"/>
              </a:ext>
            </a:extLst>
          </p:cNvPr>
          <p:cNvSpPr>
            <a:spLocks/>
          </p:cNvSpPr>
          <p:nvPr userDrawn="1"/>
        </p:nvSpPr>
        <p:spPr bwMode="gray">
          <a:xfrm rot="16200000">
            <a:off x="347539" y="4554801"/>
            <a:ext cx="981496" cy="1004574"/>
          </a:xfrm>
          <a:custGeom>
            <a:avLst/>
            <a:gdLst/>
            <a:ahLst/>
            <a:cxnLst>
              <a:cxn ang="0">
                <a:pos x="0" y="0"/>
              </a:cxn>
              <a:cxn ang="0">
                <a:pos x="300" y="922"/>
              </a:cxn>
              <a:cxn ang="0">
                <a:pos x="934" y="461"/>
              </a:cxn>
              <a:cxn ang="0">
                <a:pos x="784" y="0"/>
              </a:cxn>
              <a:cxn ang="0">
                <a:pos x="0" y="0"/>
              </a:cxn>
            </a:cxnLst>
            <a:rect l="0" t="0" r="r" b="b"/>
            <a:pathLst>
              <a:path w="934" h="922">
                <a:moveTo>
                  <a:pt x="0" y="0"/>
                </a:moveTo>
                <a:cubicBezTo>
                  <a:pt x="0" y="332"/>
                  <a:pt x="105" y="654"/>
                  <a:pt x="300" y="922"/>
                </a:cubicBezTo>
                <a:lnTo>
                  <a:pt x="934" y="461"/>
                </a:lnTo>
                <a:cubicBezTo>
                  <a:pt x="837" y="327"/>
                  <a:pt x="784" y="166"/>
                  <a:pt x="784" y="0"/>
                </a:cubicBezTo>
                <a:lnTo>
                  <a:pt x="0" y="0"/>
                </a:lnTo>
                <a:close/>
              </a:path>
            </a:pathLst>
          </a:custGeom>
          <a:solidFill>
            <a:srgbClr val="E37A76"/>
          </a:solidFill>
          <a:ln w="12700" cmpd="sng">
            <a:solidFill>
              <a:schemeClr val="bg1"/>
            </a:solidFill>
            <a:miter lim="800000"/>
            <a:headEnd/>
            <a:tailEnd/>
          </a:ln>
          <a:effectLst/>
        </p:spPr>
        <p:txBody>
          <a:bodyPr>
            <a:noAutofit/>
          </a:bodyPr>
          <a:lstStyle/>
          <a:p>
            <a:pPr>
              <a:lnSpc>
                <a:spcPct val="90000"/>
              </a:lnSpc>
            </a:pPr>
            <a:endParaRPr lang="en-US" sz="1400"/>
          </a:p>
        </p:txBody>
      </p:sp>
      <p:sp>
        <p:nvSpPr>
          <p:cNvPr id="41" name="Freeform 33">
            <a:extLst>
              <a:ext uri="{FF2B5EF4-FFF2-40B4-BE49-F238E27FC236}">
                <a16:creationId xmlns:a16="http://schemas.microsoft.com/office/drawing/2014/main" id="{45F7B0E5-B5F2-FD97-5AAC-B34F01B516F6}"/>
              </a:ext>
            </a:extLst>
          </p:cNvPr>
          <p:cNvSpPr>
            <a:spLocks/>
          </p:cNvSpPr>
          <p:nvPr userDrawn="1"/>
        </p:nvSpPr>
        <p:spPr bwMode="gray">
          <a:xfrm rot="16200000" flipH="1">
            <a:off x="893660" y="4102881"/>
            <a:ext cx="1079647" cy="1120711"/>
          </a:xfrm>
          <a:custGeom>
            <a:avLst/>
            <a:gdLst/>
            <a:ahLst/>
            <a:cxnLst>
              <a:cxn ang="0">
                <a:pos x="242" y="1031"/>
              </a:cxn>
              <a:cxn ang="0">
                <a:pos x="1026" y="461"/>
              </a:cxn>
              <a:cxn ang="0">
                <a:pos x="392" y="0"/>
              </a:cxn>
              <a:cxn ang="0">
                <a:pos x="0" y="285"/>
              </a:cxn>
              <a:cxn ang="0">
                <a:pos x="242" y="1031"/>
              </a:cxn>
            </a:cxnLst>
            <a:rect l="0" t="0" r="r" b="b"/>
            <a:pathLst>
              <a:path w="1026" h="1031">
                <a:moveTo>
                  <a:pt x="242" y="1031"/>
                </a:moveTo>
                <a:cubicBezTo>
                  <a:pt x="557" y="928"/>
                  <a:pt x="831" y="729"/>
                  <a:pt x="1026" y="461"/>
                </a:cubicBezTo>
                <a:lnTo>
                  <a:pt x="392" y="0"/>
                </a:lnTo>
                <a:cubicBezTo>
                  <a:pt x="294" y="134"/>
                  <a:pt x="157" y="234"/>
                  <a:pt x="0" y="285"/>
                </a:cubicBezTo>
                <a:lnTo>
                  <a:pt x="242" y="1031"/>
                </a:lnTo>
                <a:close/>
              </a:path>
            </a:pathLst>
          </a:custGeom>
          <a:solidFill>
            <a:srgbClr val="9B6E75"/>
          </a:solidFill>
          <a:ln w="12700" cmpd="sng">
            <a:solidFill>
              <a:schemeClr val="bg1"/>
            </a:solidFill>
            <a:miter lim="800000"/>
            <a:headEnd/>
            <a:tailEnd/>
          </a:ln>
          <a:effectLst/>
        </p:spPr>
        <p:txBody>
          <a:bodyPr>
            <a:noAutofit/>
          </a:bodyPr>
          <a:lstStyle/>
          <a:p>
            <a:pPr>
              <a:lnSpc>
                <a:spcPct val="90000"/>
              </a:lnSpc>
            </a:pPr>
            <a:endParaRPr lang="en-US" sz="1400"/>
          </a:p>
        </p:txBody>
      </p:sp>
      <p:sp>
        <p:nvSpPr>
          <p:cNvPr id="42" name="Rectangle 41">
            <a:extLst>
              <a:ext uri="{FF2B5EF4-FFF2-40B4-BE49-F238E27FC236}">
                <a16:creationId xmlns:a16="http://schemas.microsoft.com/office/drawing/2014/main" id="{FF998628-4833-C9C4-456F-EB7C301AEE0B}"/>
              </a:ext>
            </a:extLst>
          </p:cNvPr>
          <p:cNvSpPr/>
          <p:nvPr userDrawn="1"/>
        </p:nvSpPr>
        <p:spPr>
          <a:xfrm>
            <a:off x="3041429" y="1687496"/>
            <a:ext cx="8823914" cy="796192"/>
          </a:xfrm>
          <a:prstGeom prst="rect">
            <a:avLst/>
          </a:prstGeom>
          <a:solidFill>
            <a:srgbClr val="0A5574"/>
          </a:solidFill>
          <a:ln w="190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3152" rIns="73152" bIns="73152" numCol="1" spcCol="0" rtlCol="0" fromWordArt="0" anchor="ctr" anchorCtr="0" forceAA="0" compatLnSpc="1">
            <a:prstTxWarp prst="textNoShape">
              <a:avLst/>
            </a:prstTxWarp>
            <a:noAutofit/>
          </a:bodyPr>
          <a:lstStyle/>
          <a:p>
            <a:pPr marL="0" indent="0">
              <a:lnSpc>
                <a:spcPct val="90000"/>
              </a:lnSpc>
              <a:spcBef>
                <a:spcPts val="1000"/>
              </a:spcBef>
              <a:buClr>
                <a:srgbClr val="000000"/>
              </a:buClr>
              <a:buFont typeface="Arial" panose="020B0604020202020204" pitchFamily="34" charset="0"/>
              <a:buNone/>
            </a:pPr>
            <a:endParaRPr lang="en-US" sz="1600" cap="all" baseline="0">
              <a:solidFill>
                <a:srgbClr val="021B41"/>
              </a:solidFill>
              <a:latin typeface="Mylius Modern" panose="020B0504020202020204" pitchFamily="34" charset="0"/>
            </a:endParaRPr>
          </a:p>
        </p:txBody>
      </p:sp>
      <p:sp>
        <p:nvSpPr>
          <p:cNvPr id="43" name="Rectangle 42">
            <a:extLst>
              <a:ext uri="{FF2B5EF4-FFF2-40B4-BE49-F238E27FC236}">
                <a16:creationId xmlns:a16="http://schemas.microsoft.com/office/drawing/2014/main" id="{9130603A-6721-1DAA-6223-819BF7F1D968}"/>
              </a:ext>
            </a:extLst>
          </p:cNvPr>
          <p:cNvSpPr/>
          <p:nvPr userDrawn="1"/>
        </p:nvSpPr>
        <p:spPr>
          <a:xfrm>
            <a:off x="3041429" y="2551154"/>
            <a:ext cx="8823914" cy="796192"/>
          </a:xfrm>
          <a:prstGeom prst="rect">
            <a:avLst/>
          </a:prstGeom>
          <a:solidFill>
            <a:srgbClr val="445F75"/>
          </a:solidFill>
          <a:ln w="190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3152" rIns="73152" bIns="73152" numCol="1" spcCol="0" rtlCol="0" fromWordArt="0" anchor="ctr" anchorCtr="0" forceAA="0" compatLnSpc="1">
            <a:prstTxWarp prst="textNoShape">
              <a:avLst/>
            </a:prstTxWarp>
            <a:noAutofit/>
          </a:bodyPr>
          <a:lstStyle/>
          <a:p>
            <a:pPr marL="0" indent="0">
              <a:lnSpc>
                <a:spcPct val="90000"/>
              </a:lnSpc>
              <a:spcBef>
                <a:spcPts val="1000"/>
              </a:spcBef>
              <a:buClr>
                <a:srgbClr val="000000"/>
              </a:buClr>
              <a:buFont typeface="Arial" panose="020B0604020202020204" pitchFamily="34" charset="0"/>
              <a:buNone/>
            </a:pPr>
            <a:endParaRPr lang="en-US" sz="1600" cap="all" baseline="0">
              <a:solidFill>
                <a:schemeClr val="bg1"/>
              </a:solidFill>
            </a:endParaRPr>
          </a:p>
        </p:txBody>
      </p:sp>
      <p:sp>
        <p:nvSpPr>
          <p:cNvPr id="44" name="Rectangle 43">
            <a:extLst>
              <a:ext uri="{FF2B5EF4-FFF2-40B4-BE49-F238E27FC236}">
                <a16:creationId xmlns:a16="http://schemas.microsoft.com/office/drawing/2014/main" id="{A4CBD655-6E3C-2D36-F058-156E9692C855}"/>
              </a:ext>
            </a:extLst>
          </p:cNvPr>
          <p:cNvSpPr/>
          <p:nvPr userDrawn="1"/>
        </p:nvSpPr>
        <p:spPr>
          <a:xfrm>
            <a:off x="3041429" y="3414812"/>
            <a:ext cx="8823914" cy="796192"/>
          </a:xfrm>
          <a:prstGeom prst="rect">
            <a:avLst/>
          </a:prstGeom>
          <a:solidFill>
            <a:srgbClr val="826A74"/>
          </a:solidFill>
          <a:ln w="190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3152" rIns="73152" bIns="73152" numCol="1" spcCol="0" rtlCol="0" fromWordArt="0" anchor="ctr" anchorCtr="0" forceAA="0" compatLnSpc="1">
            <a:prstTxWarp prst="textNoShape">
              <a:avLst/>
            </a:prstTxWarp>
            <a:noAutofit/>
          </a:bodyPr>
          <a:lstStyle/>
          <a:p>
            <a:pPr marL="0" indent="0">
              <a:lnSpc>
                <a:spcPct val="90000"/>
              </a:lnSpc>
              <a:spcBef>
                <a:spcPts val="1000"/>
              </a:spcBef>
              <a:buClr>
                <a:srgbClr val="000000"/>
              </a:buClr>
              <a:buFont typeface="Arial" panose="020B0604020202020204" pitchFamily="34" charset="0"/>
              <a:buNone/>
            </a:pPr>
            <a:endParaRPr lang="en-US" sz="1600" cap="all" baseline="0">
              <a:solidFill>
                <a:srgbClr val="021B41"/>
              </a:solidFill>
            </a:endParaRPr>
          </a:p>
        </p:txBody>
      </p:sp>
      <p:sp>
        <p:nvSpPr>
          <p:cNvPr id="45" name="Rectangle 44">
            <a:extLst>
              <a:ext uri="{FF2B5EF4-FFF2-40B4-BE49-F238E27FC236}">
                <a16:creationId xmlns:a16="http://schemas.microsoft.com/office/drawing/2014/main" id="{B941D7EC-3C44-CC42-6A93-1F762568C9F8}"/>
              </a:ext>
            </a:extLst>
          </p:cNvPr>
          <p:cNvSpPr/>
          <p:nvPr userDrawn="1"/>
        </p:nvSpPr>
        <p:spPr>
          <a:xfrm>
            <a:off x="3041429" y="4278470"/>
            <a:ext cx="8823914" cy="796192"/>
          </a:xfrm>
          <a:prstGeom prst="rect">
            <a:avLst/>
          </a:prstGeom>
          <a:solidFill>
            <a:srgbClr val="9B6E75"/>
          </a:solidFill>
          <a:ln w="190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3152" rIns="73152" bIns="73152" numCol="1" spcCol="0" rtlCol="0" fromWordArt="0" anchor="ctr" anchorCtr="0" forceAA="0" compatLnSpc="1">
            <a:prstTxWarp prst="textNoShape">
              <a:avLst/>
            </a:prstTxWarp>
            <a:noAutofit/>
          </a:bodyPr>
          <a:lstStyle/>
          <a:p>
            <a:pPr marL="0" indent="0">
              <a:lnSpc>
                <a:spcPct val="90000"/>
              </a:lnSpc>
              <a:spcBef>
                <a:spcPts val="1000"/>
              </a:spcBef>
              <a:buClr>
                <a:srgbClr val="000000"/>
              </a:buClr>
              <a:buFont typeface="Arial" panose="020B0604020202020204" pitchFamily="34" charset="0"/>
              <a:buNone/>
            </a:pPr>
            <a:endParaRPr lang="en-US" sz="1600" cap="all" baseline="0">
              <a:solidFill>
                <a:srgbClr val="021B41"/>
              </a:solidFill>
            </a:endParaRPr>
          </a:p>
        </p:txBody>
      </p:sp>
      <p:sp>
        <p:nvSpPr>
          <p:cNvPr id="46" name="Rectangle 45">
            <a:extLst>
              <a:ext uri="{FF2B5EF4-FFF2-40B4-BE49-F238E27FC236}">
                <a16:creationId xmlns:a16="http://schemas.microsoft.com/office/drawing/2014/main" id="{D442727B-82A6-4FF1-F5BC-5589AB2B7A3A}"/>
              </a:ext>
            </a:extLst>
          </p:cNvPr>
          <p:cNvSpPr/>
          <p:nvPr userDrawn="1"/>
        </p:nvSpPr>
        <p:spPr>
          <a:xfrm>
            <a:off x="3041433" y="5145901"/>
            <a:ext cx="8823914" cy="796192"/>
          </a:xfrm>
          <a:prstGeom prst="rect">
            <a:avLst/>
          </a:prstGeom>
          <a:solidFill>
            <a:srgbClr val="E37A76"/>
          </a:solidFill>
          <a:ln w="190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3152" rIns="73152" bIns="73152" numCol="1" spcCol="0" rtlCol="0" fromWordArt="0" anchor="ctr" anchorCtr="0" forceAA="0" compatLnSpc="1">
            <a:prstTxWarp prst="textNoShape">
              <a:avLst/>
            </a:prstTxWarp>
            <a:noAutofit/>
          </a:bodyPr>
          <a:lstStyle/>
          <a:p>
            <a:pPr marL="0" indent="0">
              <a:lnSpc>
                <a:spcPct val="90000"/>
              </a:lnSpc>
              <a:spcBef>
                <a:spcPts val="1000"/>
              </a:spcBef>
              <a:buClr>
                <a:srgbClr val="000000"/>
              </a:buClr>
              <a:buFont typeface="Arial" panose="020B0604020202020204" pitchFamily="34" charset="0"/>
              <a:buNone/>
            </a:pPr>
            <a:endParaRPr lang="en-US" sz="1600" cap="all" baseline="0">
              <a:solidFill>
                <a:srgbClr val="021B41"/>
              </a:solidFill>
            </a:endParaRPr>
          </a:p>
        </p:txBody>
      </p:sp>
      <p:sp>
        <p:nvSpPr>
          <p:cNvPr id="47" name="Oval 46">
            <a:extLst>
              <a:ext uri="{FF2B5EF4-FFF2-40B4-BE49-F238E27FC236}">
                <a16:creationId xmlns:a16="http://schemas.microsoft.com/office/drawing/2014/main" id="{EE0C5E19-E3F5-0812-8279-8802BCC297EE}"/>
              </a:ext>
            </a:extLst>
          </p:cNvPr>
          <p:cNvSpPr/>
          <p:nvPr userDrawn="1"/>
        </p:nvSpPr>
        <p:spPr>
          <a:xfrm>
            <a:off x="1276135" y="2880877"/>
            <a:ext cx="279931" cy="281945"/>
          </a:xfrm>
          <a:prstGeom prst="ellipse">
            <a:avLst/>
          </a:prstGeom>
          <a:no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r>
              <a:rPr lang="cs-CZ" sz="2000" b="1">
                <a:solidFill>
                  <a:schemeClr val="bg1"/>
                </a:solidFill>
                <a:latin typeface="Mylius Modern" panose="020B0504020202020204" pitchFamily="34" charset="0"/>
                <a:cs typeface="Arial" pitchFamily="34" charset="0"/>
              </a:rPr>
              <a:t>2</a:t>
            </a:r>
            <a:endParaRPr lang="en-US" sz="2000" b="1">
              <a:solidFill>
                <a:schemeClr val="bg1"/>
              </a:solidFill>
              <a:latin typeface="Mylius Modern" panose="020B0504020202020204" pitchFamily="34" charset="0"/>
              <a:cs typeface="Arial" pitchFamily="34" charset="0"/>
            </a:endParaRPr>
          </a:p>
        </p:txBody>
      </p:sp>
      <p:sp>
        <p:nvSpPr>
          <p:cNvPr id="48" name="Oval 47">
            <a:extLst>
              <a:ext uri="{FF2B5EF4-FFF2-40B4-BE49-F238E27FC236}">
                <a16:creationId xmlns:a16="http://schemas.microsoft.com/office/drawing/2014/main" id="{F98C764B-384D-8519-C748-040BB41E519E}"/>
              </a:ext>
            </a:extLst>
          </p:cNvPr>
          <p:cNvSpPr/>
          <p:nvPr userDrawn="1"/>
        </p:nvSpPr>
        <p:spPr>
          <a:xfrm>
            <a:off x="559809" y="2411124"/>
            <a:ext cx="279931" cy="281945"/>
          </a:xfrm>
          <a:prstGeom prst="ellipse">
            <a:avLst/>
          </a:prstGeom>
          <a:no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r>
              <a:rPr lang="en-US" sz="2000" b="1">
                <a:solidFill>
                  <a:schemeClr val="bg1"/>
                </a:solidFill>
                <a:latin typeface="Mylius Modern" panose="020B0504020202020204" pitchFamily="34" charset="0"/>
                <a:cs typeface="Arial" pitchFamily="34" charset="0"/>
              </a:rPr>
              <a:t>1</a:t>
            </a:r>
          </a:p>
        </p:txBody>
      </p:sp>
      <p:sp>
        <p:nvSpPr>
          <p:cNvPr id="49" name="Oval 48">
            <a:extLst>
              <a:ext uri="{FF2B5EF4-FFF2-40B4-BE49-F238E27FC236}">
                <a16:creationId xmlns:a16="http://schemas.microsoft.com/office/drawing/2014/main" id="{A1D27C94-CBB4-2E42-9BF1-E5CAD1B6E04D}"/>
              </a:ext>
            </a:extLst>
          </p:cNvPr>
          <p:cNvSpPr/>
          <p:nvPr userDrawn="1"/>
        </p:nvSpPr>
        <p:spPr>
          <a:xfrm>
            <a:off x="1556066" y="3673822"/>
            <a:ext cx="279931" cy="281945"/>
          </a:xfrm>
          <a:prstGeom prst="ellipse">
            <a:avLst/>
          </a:prstGeom>
          <a:no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r>
              <a:rPr lang="cs-CZ" sz="2000" b="1">
                <a:solidFill>
                  <a:schemeClr val="bg1"/>
                </a:solidFill>
                <a:latin typeface="Mylius Modern" panose="020B0504020202020204" pitchFamily="34" charset="0"/>
                <a:cs typeface="Arial" pitchFamily="34" charset="0"/>
              </a:rPr>
              <a:t>3</a:t>
            </a:r>
            <a:endParaRPr lang="en-US" sz="2000" b="1">
              <a:solidFill>
                <a:schemeClr val="bg1"/>
              </a:solidFill>
              <a:latin typeface="Mylius Modern" panose="020B0504020202020204" pitchFamily="34" charset="0"/>
              <a:cs typeface="Arial" pitchFamily="34" charset="0"/>
            </a:endParaRPr>
          </a:p>
        </p:txBody>
      </p:sp>
      <p:sp>
        <p:nvSpPr>
          <p:cNvPr id="50" name="Oval 49">
            <a:extLst>
              <a:ext uri="{FF2B5EF4-FFF2-40B4-BE49-F238E27FC236}">
                <a16:creationId xmlns:a16="http://schemas.microsoft.com/office/drawing/2014/main" id="{0FFD2451-21CE-8405-4EC4-ADB0239FA9FA}"/>
              </a:ext>
            </a:extLst>
          </p:cNvPr>
          <p:cNvSpPr/>
          <p:nvPr userDrawn="1"/>
        </p:nvSpPr>
        <p:spPr>
          <a:xfrm>
            <a:off x="1276135" y="4522264"/>
            <a:ext cx="279931" cy="281945"/>
          </a:xfrm>
          <a:prstGeom prst="ellipse">
            <a:avLst/>
          </a:prstGeom>
          <a:no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r>
              <a:rPr lang="cs-CZ" sz="2000" b="1">
                <a:solidFill>
                  <a:schemeClr val="bg1"/>
                </a:solidFill>
                <a:latin typeface="Mylius Modern" panose="020B0504020202020204" pitchFamily="34" charset="0"/>
                <a:cs typeface="Arial" pitchFamily="34" charset="0"/>
              </a:rPr>
              <a:t>4</a:t>
            </a:r>
            <a:endParaRPr lang="en-US" sz="2000" b="1">
              <a:solidFill>
                <a:schemeClr val="bg1"/>
              </a:solidFill>
              <a:latin typeface="Mylius Modern" panose="020B0504020202020204" pitchFamily="34" charset="0"/>
              <a:cs typeface="Arial" pitchFamily="34" charset="0"/>
            </a:endParaRPr>
          </a:p>
        </p:txBody>
      </p:sp>
      <p:sp>
        <p:nvSpPr>
          <p:cNvPr id="51" name="Oval 50">
            <a:extLst>
              <a:ext uri="{FF2B5EF4-FFF2-40B4-BE49-F238E27FC236}">
                <a16:creationId xmlns:a16="http://schemas.microsoft.com/office/drawing/2014/main" id="{C15F297C-D075-BBA9-CFFD-00EE1F450D68}"/>
              </a:ext>
            </a:extLst>
          </p:cNvPr>
          <p:cNvSpPr/>
          <p:nvPr userDrawn="1"/>
        </p:nvSpPr>
        <p:spPr>
          <a:xfrm>
            <a:off x="559809" y="4936520"/>
            <a:ext cx="279931" cy="281945"/>
          </a:xfrm>
          <a:prstGeom prst="ellipse">
            <a:avLst/>
          </a:prstGeom>
          <a:no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r>
              <a:rPr lang="cs-CZ" sz="2000" b="1">
                <a:solidFill>
                  <a:schemeClr val="bg1"/>
                </a:solidFill>
                <a:latin typeface="Mylius Modern" panose="020B0504020202020204" pitchFamily="34" charset="0"/>
                <a:cs typeface="Arial" pitchFamily="34" charset="0"/>
              </a:rPr>
              <a:t>5</a:t>
            </a:r>
            <a:endParaRPr lang="en-US" sz="2000" b="1">
              <a:solidFill>
                <a:schemeClr val="bg1"/>
              </a:solidFill>
              <a:latin typeface="Mylius Modern" panose="020B0504020202020204" pitchFamily="34" charset="0"/>
              <a:cs typeface="Arial" pitchFamily="34" charset="0"/>
            </a:endParaRPr>
          </a:p>
        </p:txBody>
      </p:sp>
      <p:sp>
        <p:nvSpPr>
          <p:cNvPr id="52" name="Text Placeholder 30">
            <a:extLst>
              <a:ext uri="{FF2B5EF4-FFF2-40B4-BE49-F238E27FC236}">
                <a16:creationId xmlns:a16="http://schemas.microsoft.com/office/drawing/2014/main" id="{537B679A-78D2-02D6-EAD2-2331358BF672}"/>
              </a:ext>
            </a:extLst>
          </p:cNvPr>
          <p:cNvSpPr>
            <a:spLocks noGrp="1"/>
          </p:cNvSpPr>
          <p:nvPr>
            <p:ph type="body" sz="quarter" idx="11" hasCustomPrompt="1"/>
          </p:nvPr>
        </p:nvSpPr>
        <p:spPr>
          <a:xfrm>
            <a:off x="3041433" y="1687492"/>
            <a:ext cx="8805999" cy="780125"/>
          </a:xfrm>
          <a:prstGeom prst="rect">
            <a:avLst/>
          </a:prstGeom>
        </p:spPr>
        <p:txBody>
          <a:bodyPr lIns="288000" anchor="ctr" anchorCtr="0"/>
          <a:lstStyle>
            <a:lvl1pPr marL="0" indent="0">
              <a:buNone/>
              <a:defRPr cap="all" baseline="0">
                <a:solidFill>
                  <a:schemeClr val="bg1"/>
                </a:solidFill>
                <a:latin typeface="Mylius Modern" panose="020B0504020202020204" pitchFamily="34" charset="0"/>
              </a:defRPr>
            </a:lvl1pPr>
          </a:lstStyle>
          <a:p>
            <a:pPr lvl="0"/>
            <a:r>
              <a:rPr lang="en-US"/>
              <a:t>Add text</a:t>
            </a:r>
          </a:p>
        </p:txBody>
      </p:sp>
      <p:sp>
        <p:nvSpPr>
          <p:cNvPr id="53" name="Text Placeholder 30">
            <a:extLst>
              <a:ext uri="{FF2B5EF4-FFF2-40B4-BE49-F238E27FC236}">
                <a16:creationId xmlns:a16="http://schemas.microsoft.com/office/drawing/2014/main" id="{C0911EB6-10D9-40DA-B22A-CA8DC036DA3E}"/>
              </a:ext>
            </a:extLst>
          </p:cNvPr>
          <p:cNvSpPr>
            <a:spLocks noGrp="1"/>
          </p:cNvSpPr>
          <p:nvPr>
            <p:ph type="body" sz="quarter" idx="12" hasCustomPrompt="1"/>
          </p:nvPr>
        </p:nvSpPr>
        <p:spPr>
          <a:xfrm>
            <a:off x="3041432" y="2553776"/>
            <a:ext cx="8805999" cy="780125"/>
          </a:xfrm>
          <a:prstGeom prst="rect">
            <a:avLst/>
          </a:prstGeom>
        </p:spPr>
        <p:txBody>
          <a:bodyPr lIns="288000" anchor="ctr" anchorCtr="0"/>
          <a:lstStyle>
            <a:lvl1pPr marL="0" indent="0">
              <a:buNone/>
              <a:defRPr cap="all" baseline="0">
                <a:solidFill>
                  <a:srgbClr val="F6F6F6"/>
                </a:solidFill>
                <a:latin typeface="Mylius Modern" panose="020B0504020202020204" pitchFamily="34" charset="0"/>
              </a:defRPr>
            </a:lvl1pPr>
          </a:lstStyle>
          <a:p>
            <a:pPr lvl="0"/>
            <a:r>
              <a:rPr lang="en-US"/>
              <a:t>Add text</a:t>
            </a:r>
          </a:p>
        </p:txBody>
      </p:sp>
      <p:sp>
        <p:nvSpPr>
          <p:cNvPr id="54" name="Text Placeholder 30">
            <a:extLst>
              <a:ext uri="{FF2B5EF4-FFF2-40B4-BE49-F238E27FC236}">
                <a16:creationId xmlns:a16="http://schemas.microsoft.com/office/drawing/2014/main" id="{08BEBE42-A248-8AD0-E1BA-E77828DD74EA}"/>
              </a:ext>
            </a:extLst>
          </p:cNvPr>
          <p:cNvSpPr>
            <a:spLocks noGrp="1"/>
          </p:cNvSpPr>
          <p:nvPr>
            <p:ph type="body" sz="quarter" idx="13" hasCustomPrompt="1"/>
          </p:nvPr>
        </p:nvSpPr>
        <p:spPr>
          <a:xfrm>
            <a:off x="3041431" y="3418997"/>
            <a:ext cx="8805999" cy="780125"/>
          </a:xfrm>
          <a:prstGeom prst="rect">
            <a:avLst/>
          </a:prstGeom>
        </p:spPr>
        <p:txBody>
          <a:bodyPr lIns="288000" anchor="ctr" anchorCtr="0"/>
          <a:lstStyle>
            <a:lvl1pPr marL="0" indent="0">
              <a:buNone/>
              <a:defRPr cap="all" baseline="0">
                <a:solidFill>
                  <a:schemeClr val="bg1"/>
                </a:solidFill>
                <a:latin typeface="Mylius Modern" panose="020B0504020202020204" pitchFamily="34" charset="0"/>
              </a:defRPr>
            </a:lvl1pPr>
          </a:lstStyle>
          <a:p>
            <a:pPr lvl="0"/>
            <a:r>
              <a:rPr lang="en-US"/>
              <a:t>Add text</a:t>
            </a:r>
          </a:p>
        </p:txBody>
      </p:sp>
      <p:sp>
        <p:nvSpPr>
          <p:cNvPr id="55" name="Text Placeholder 30">
            <a:extLst>
              <a:ext uri="{FF2B5EF4-FFF2-40B4-BE49-F238E27FC236}">
                <a16:creationId xmlns:a16="http://schemas.microsoft.com/office/drawing/2014/main" id="{87F5B37C-C1F1-DCCA-4D71-06E898C6B473}"/>
              </a:ext>
            </a:extLst>
          </p:cNvPr>
          <p:cNvSpPr>
            <a:spLocks noGrp="1"/>
          </p:cNvSpPr>
          <p:nvPr>
            <p:ph type="body" sz="quarter" idx="14" hasCustomPrompt="1"/>
          </p:nvPr>
        </p:nvSpPr>
        <p:spPr>
          <a:xfrm>
            <a:off x="3050001" y="4290569"/>
            <a:ext cx="8805999" cy="780125"/>
          </a:xfrm>
          <a:prstGeom prst="rect">
            <a:avLst/>
          </a:prstGeom>
        </p:spPr>
        <p:txBody>
          <a:bodyPr lIns="288000" anchor="ctr" anchorCtr="0"/>
          <a:lstStyle>
            <a:lvl1pPr marL="0" indent="0">
              <a:buNone/>
              <a:defRPr cap="all" baseline="0">
                <a:solidFill>
                  <a:schemeClr val="bg1"/>
                </a:solidFill>
                <a:latin typeface="Mylius Modern" panose="020B0504020202020204" pitchFamily="34" charset="0"/>
              </a:defRPr>
            </a:lvl1pPr>
          </a:lstStyle>
          <a:p>
            <a:pPr lvl="0"/>
            <a:r>
              <a:rPr lang="en-US"/>
              <a:t>Add text</a:t>
            </a:r>
          </a:p>
        </p:txBody>
      </p:sp>
      <p:sp>
        <p:nvSpPr>
          <p:cNvPr id="56" name="Text Placeholder 30">
            <a:extLst>
              <a:ext uri="{FF2B5EF4-FFF2-40B4-BE49-F238E27FC236}">
                <a16:creationId xmlns:a16="http://schemas.microsoft.com/office/drawing/2014/main" id="{ECA52641-4AA3-E61C-57F5-96D7DD763103}"/>
              </a:ext>
            </a:extLst>
          </p:cNvPr>
          <p:cNvSpPr>
            <a:spLocks noGrp="1"/>
          </p:cNvSpPr>
          <p:nvPr>
            <p:ph type="body" sz="quarter" idx="15" hasCustomPrompt="1"/>
          </p:nvPr>
        </p:nvSpPr>
        <p:spPr>
          <a:xfrm>
            <a:off x="3059344" y="5165371"/>
            <a:ext cx="8805999" cy="772948"/>
          </a:xfrm>
          <a:prstGeom prst="rect">
            <a:avLst/>
          </a:prstGeom>
        </p:spPr>
        <p:txBody>
          <a:bodyPr lIns="288000" anchor="ctr" anchorCtr="0"/>
          <a:lstStyle>
            <a:lvl1pPr marL="0" indent="0">
              <a:buNone/>
              <a:defRPr cap="all" baseline="0">
                <a:solidFill>
                  <a:schemeClr val="bg1"/>
                </a:solidFill>
                <a:latin typeface="Mylius Modern" panose="020B0504020202020204" pitchFamily="34" charset="0"/>
              </a:defRPr>
            </a:lvl1pPr>
          </a:lstStyle>
          <a:p>
            <a:pPr lvl="0"/>
            <a:r>
              <a:rPr lang="en-US"/>
              <a:t>Add text</a:t>
            </a:r>
          </a:p>
        </p:txBody>
      </p:sp>
      <p:sp>
        <p:nvSpPr>
          <p:cNvPr id="57" name="Text Placeholder 37">
            <a:extLst>
              <a:ext uri="{FF2B5EF4-FFF2-40B4-BE49-F238E27FC236}">
                <a16:creationId xmlns:a16="http://schemas.microsoft.com/office/drawing/2014/main" id="{A216F439-37C4-918C-26B7-BF3B7A4A0108}"/>
              </a:ext>
            </a:extLst>
          </p:cNvPr>
          <p:cNvSpPr>
            <a:spLocks noGrp="1"/>
          </p:cNvSpPr>
          <p:nvPr>
            <p:ph type="body" sz="quarter" idx="16" hasCustomPrompt="1"/>
          </p:nvPr>
        </p:nvSpPr>
        <p:spPr>
          <a:xfrm>
            <a:off x="342187" y="3255185"/>
            <a:ext cx="908050" cy="1133475"/>
          </a:xfrm>
          <a:prstGeom prst="rect">
            <a:avLst/>
          </a:prstGeom>
        </p:spPr>
        <p:txBody>
          <a:bodyPr anchor="ctr" anchorCtr="0"/>
          <a:lstStyle>
            <a:lvl1pPr marL="0" indent="0">
              <a:buNone/>
              <a:defRPr sz="1800" b="0" cap="all" baseline="0">
                <a:latin typeface="Mylius Modern" panose="020B0504020202020204" pitchFamily="34" charset="0"/>
              </a:defRPr>
            </a:lvl1pPr>
          </a:lstStyle>
          <a:p>
            <a:pPr lvl="0"/>
            <a:r>
              <a:rPr lang="en-US"/>
              <a:t>Add text</a:t>
            </a:r>
            <a:endParaRPr lang="en-GB"/>
          </a:p>
        </p:txBody>
      </p:sp>
    </p:spTree>
    <p:extLst>
      <p:ext uri="{BB962C8B-B14F-4D97-AF65-F5344CB8AC3E}">
        <p14:creationId xmlns:p14="http://schemas.microsoft.com/office/powerpoint/2010/main" val="37230845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4170CA9-14BC-B00B-EBE9-147B97350204}"/>
              </a:ext>
            </a:extLst>
          </p:cNvPr>
          <p:cNvSpPr>
            <a:spLocks noGrp="1"/>
          </p:cNvSpPr>
          <p:nvPr>
            <p:ph type="title" hasCustomPrompt="1"/>
          </p:nvPr>
        </p:nvSpPr>
        <p:spPr>
          <a:xfrm>
            <a:off x="343672" y="298938"/>
            <a:ext cx="9537746" cy="659423"/>
          </a:xfrm>
          <a:prstGeom prst="rect">
            <a:avLst/>
          </a:prstGeom>
        </p:spPr>
        <p:txBody>
          <a:bodyPr/>
          <a:lstStyle>
            <a:lvl1pPr>
              <a:defRPr sz="2000" spc="600">
                <a:solidFill>
                  <a:schemeClr val="bg1"/>
                </a:solidFill>
                <a:latin typeface="Mylius Modern" panose="020B0504020202020204" pitchFamily="34" charset="0"/>
              </a:defRPr>
            </a:lvl1pPr>
          </a:lstStyle>
          <a:p>
            <a:r>
              <a:rPr lang="en-GB"/>
              <a:t>CLICK TO EDIT MASTER TITLE STYLE</a:t>
            </a:r>
            <a:endParaRPr lang="en-US"/>
          </a:p>
        </p:txBody>
      </p:sp>
      <p:sp>
        <p:nvSpPr>
          <p:cNvPr id="2" name="TextBox 1">
            <a:extLst>
              <a:ext uri="{FF2B5EF4-FFF2-40B4-BE49-F238E27FC236}">
                <a16:creationId xmlns:a16="http://schemas.microsoft.com/office/drawing/2014/main" id="{58EA4E5F-7FB3-6DFB-D880-05C9354274E6}"/>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rgbClr val="E37A76"/>
                </a:solidFill>
                <a:latin typeface="Mylius Modern" panose="020B0504020202020204" pitchFamily="34" charset="0"/>
              </a:rPr>
              <a:t>INFORMATION FOR BRITISH AIRWAYS INTERNAL USE ONLY</a:t>
            </a:r>
          </a:p>
        </p:txBody>
      </p:sp>
      <p:sp>
        <p:nvSpPr>
          <p:cNvPr id="3" name="TextBox 2">
            <a:extLst>
              <a:ext uri="{FF2B5EF4-FFF2-40B4-BE49-F238E27FC236}">
                <a16:creationId xmlns:a16="http://schemas.microsoft.com/office/drawing/2014/main" id="{20B95617-6E2D-E9C6-A9E9-7E1223997562}"/>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rgbClr val="E37A76"/>
                </a:solidFill>
                <a:latin typeface="Mylius Modern" panose="020B0504020202020204" pitchFamily="34" charset="0"/>
              </a:rPr>
              <a:t>‹#›</a:t>
            </a:fld>
            <a:endParaRPr lang="en-US" sz="700" b="0" i="0" spc="0">
              <a:solidFill>
                <a:srgbClr val="E37A76"/>
              </a:solidFill>
              <a:latin typeface="Mylius Modern" panose="020B0504020202020204" pitchFamily="34" charset="0"/>
            </a:endParaRPr>
          </a:p>
        </p:txBody>
      </p:sp>
    </p:spTree>
    <p:extLst>
      <p:ext uri="{BB962C8B-B14F-4D97-AF65-F5344CB8AC3E}">
        <p14:creationId xmlns:p14="http://schemas.microsoft.com/office/powerpoint/2010/main" val="5972466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8E549B28-31F2-96AB-FB5D-8D0F11987CAB}"/>
              </a:ext>
            </a:extLst>
          </p:cNvPr>
          <p:cNvSpPr>
            <a:spLocks noGrp="1"/>
          </p:cNvSpPr>
          <p:nvPr>
            <p:ph idx="14" hasCustomPrompt="1"/>
          </p:nvPr>
        </p:nvSpPr>
        <p:spPr>
          <a:xfrm>
            <a:off x="505610" y="1699454"/>
            <a:ext cx="11042924" cy="4654454"/>
          </a:xfrm>
          <a:prstGeom prst="rect">
            <a:avLst/>
          </a:prstGeom>
        </p:spPr>
        <p:txBody>
          <a:bodyPr/>
          <a:lstStyle>
            <a:lvl1pPr marL="0" indent="0">
              <a:lnSpc>
                <a:spcPct val="150000"/>
              </a:lnSpc>
              <a:buNone/>
              <a:defRPr sz="1600" b="1">
                <a:solidFill>
                  <a:srgbClr val="085574"/>
                </a:solidFill>
                <a:latin typeface="Mylius Modern" panose="020B0504020202020204" pitchFamily="34" charset="0"/>
              </a:defRPr>
            </a:lvl1pPr>
            <a:lvl2pPr marL="457200" indent="0">
              <a:lnSpc>
                <a:spcPct val="150000"/>
              </a:lnSpc>
              <a:buNone/>
              <a:defRPr sz="1400">
                <a:solidFill>
                  <a:srgbClr val="085574"/>
                </a:solidFill>
                <a:latin typeface="Mylius Modern" panose="020B0504020202020204" pitchFamily="34" charset="0"/>
              </a:defRPr>
            </a:lvl2pPr>
            <a:lvl3pPr>
              <a:lnSpc>
                <a:spcPct val="150000"/>
              </a:lnSpc>
              <a:defRPr sz="1200">
                <a:solidFill>
                  <a:srgbClr val="085574"/>
                </a:solidFill>
                <a:latin typeface="Mylius Modern" panose="020B0504020202020204" pitchFamily="34" charset="0"/>
              </a:defRPr>
            </a:lvl3pPr>
            <a:lvl4pPr>
              <a:lnSpc>
                <a:spcPct val="150000"/>
              </a:lnSpc>
              <a:defRPr sz="1100">
                <a:solidFill>
                  <a:srgbClr val="085574"/>
                </a:solidFill>
                <a:latin typeface="Mylius Modern" panose="020B0504020202020204" pitchFamily="34" charset="0"/>
              </a:defRPr>
            </a:lvl4pPr>
            <a:lvl5pPr>
              <a:lnSpc>
                <a:spcPct val="150000"/>
              </a:lnSpc>
              <a:defRPr sz="1100">
                <a:solidFill>
                  <a:srgbClr val="085574"/>
                </a:solidFill>
                <a:latin typeface="Mylius Modern"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Title 1">
            <a:extLst>
              <a:ext uri="{FF2B5EF4-FFF2-40B4-BE49-F238E27FC236}">
                <a16:creationId xmlns:a16="http://schemas.microsoft.com/office/drawing/2014/main" id="{A4170CA9-14BC-B00B-EBE9-147B97350204}"/>
              </a:ext>
            </a:extLst>
          </p:cNvPr>
          <p:cNvSpPr>
            <a:spLocks noGrp="1"/>
          </p:cNvSpPr>
          <p:nvPr>
            <p:ph type="title" hasCustomPrompt="1"/>
          </p:nvPr>
        </p:nvSpPr>
        <p:spPr>
          <a:xfrm>
            <a:off x="343672" y="298938"/>
            <a:ext cx="9537746" cy="659423"/>
          </a:xfrm>
          <a:prstGeom prst="rect">
            <a:avLst/>
          </a:prstGeom>
        </p:spPr>
        <p:txBody>
          <a:bodyPr/>
          <a:lstStyle>
            <a:lvl1pPr>
              <a:defRPr sz="2000" spc="600">
                <a:solidFill>
                  <a:schemeClr val="bg1"/>
                </a:solidFill>
                <a:latin typeface="Mylius Modern" panose="020B0504020202020204" pitchFamily="34" charset="0"/>
              </a:defRPr>
            </a:lvl1pPr>
          </a:lstStyle>
          <a:p>
            <a:r>
              <a:rPr lang="en-GB"/>
              <a:t>CLICK TO EDIT MASTER TITLE STYLE</a:t>
            </a:r>
            <a:endParaRPr lang="en-US"/>
          </a:p>
        </p:txBody>
      </p:sp>
      <p:sp>
        <p:nvSpPr>
          <p:cNvPr id="2" name="TextBox 1">
            <a:extLst>
              <a:ext uri="{FF2B5EF4-FFF2-40B4-BE49-F238E27FC236}">
                <a16:creationId xmlns:a16="http://schemas.microsoft.com/office/drawing/2014/main" id="{58EA4E5F-7FB3-6DFB-D880-05C9354274E6}"/>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rgbClr val="E37A76"/>
                </a:solidFill>
                <a:latin typeface="Mylius Modern" panose="020B0504020202020204" pitchFamily="34" charset="0"/>
              </a:rPr>
              <a:t>INFORMATION FOR BRITISH AIRWAYS INTERNAL USE ONLY</a:t>
            </a:r>
          </a:p>
        </p:txBody>
      </p:sp>
      <p:sp>
        <p:nvSpPr>
          <p:cNvPr id="3" name="TextBox 2">
            <a:extLst>
              <a:ext uri="{FF2B5EF4-FFF2-40B4-BE49-F238E27FC236}">
                <a16:creationId xmlns:a16="http://schemas.microsoft.com/office/drawing/2014/main" id="{20B95617-6E2D-E9C6-A9E9-7E1223997562}"/>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rgbClr val="E37A76"/>
                </a:solidFill>
                <a:latin typeface="Mylius Modern" panose="020B0504020202020204" pitchFamily="34" charset="0"/>
              </a:rPr>
              <a:t>‹#›</a:t>
            </a:fld>
            <a:endParaRPr lang="en-US" sz="700" b="0" i="0" spc="0">
              <a:solidFill>
                <a:srgbClr val="E37A76"/>
              </a:solidFill>
              <a:latin typeface="Mylius Modern" panose="020B0504020202020204" pitchFamily="34" charset="0"/>
            </a:endParaRPr>
          </a:p>
        </p:txBody>
      </p:sp>
      <p:sp>
        <p:nvSpPr>
          <p:cNvPr id="12" name="TextBox 11">
            <a:extLst>
              <a:ext uri="{FF2B5EF4-FFF2-40B4-BE49-F238E27FC236}">
                <a16:creationId xmlns:a16="http://schemas.microsoft.com/office/drawing/2014/main" id="{6C8B374C-9937-F51E-CEAA-090C0082C721}"/>
              </a:ext>
            </a:extLst>
          </p:cNvPr>
          <p:cNvSpPr txBox="1"/>
          <p:nvPr userDrawn="1"/>
        </p:nvSpPr>
        <p:spPr>
          <a:xfrm>
            <a:off x="0" y="6606195"/>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Tree>
    <p:extLst>
      <p:ext uri="{BB962C8B-B14F-4D97-AF65-F5344CB8AC3E}">
        <p14:creationId xmlns:p14="http://schemas.microsoft.com/office/powerpoint/2010/main" val="24665396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strapline)">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8E549B28-31F2-96AB-FB5D-8D0F11987CAB}"/>
              </a:ext>
            </a:extLst>
          </p:cNvPr>
          <p:cNvSpPr>
            <a:spLocks noGrp="1"/>
          </p:cNvSpPr>
          <p:nvPr>
            <p:ph idx="14" hasCustomPrompt="1"/>
          </p:nvPr>
        </p:nvSpPr>
        <p:spPr>
          <a:xfrm>
            <a:off x="505610" y="1699454"/>
            <a:ext cx="11042924" cy="3820813"/>
          </a:xfrm>
          <a:prstGeom prst="rect">
            <a:avLst/>
          </a:prstGeom>
        </p:spPr>
        <p:txBody>
          <a:bodyPr/>
          <a:lstStyle>
            <a:lvl1pPr marL="0" indent="0">
              <a:lnSpc>
                <a:spcPct val="150000"/>
              </a:lnSpc>
              <a:buNone/>
              <a:defRPr sz="1600" b="1">
                <a:solidFill>
                  <a:srgbClr val="085574"/>
                </a:solidFill>
                <a:latin typeface="Mylius Modern" panose="020B0504020202020204" pitchFamily="34" charset="0"/>
              </a:defRPr>
            </a:lvl1pPr>
            <a:lvl2pPr marL="457200" indent="0">
              <a:lnSpc>
                <a:spcPct val="150000"/>
              </a:lnSpc>
              <a:buNone/>
              <a:defRPr sz="1400">
                <a:solidFill>
                  <a:srgbClr val="085574"/>
                </a:solidFill>
                <a:latin typeface="Mylius Modern" panose="020B0504020202020204" pitchFamily="34" charset="0"/>
              </a:defRPr>
            </a:lvl2pPr>
            <a:lvl3pPr>
              <a:lnSpc>
                <a:spcPct val="150000"/>
              </a:lnSpc>
              <a:defRPr sz="1200">
                <a:solidFill>
                  <a:srgbClr val="085574"/>
                </a:solidFill>
                <a:latin typeface="Mylius Modern" panose="020B0504020202020204" pitchFamily="34" charset="0"/>
              </a:defRPr>
            </a:lvl3pPr>
            <a:lvl4pPr>
              <a:lnSpc>
                <a:spcPct val="150000"/>
              </a:lnSpc>
              <a:defRPr sz="1100">
                <a:solidFill>
                  <a:srgbClr val="085574"/>
                </a:solidFill>
                <a:latin typeface="Mylius Modern" panose="020B0504020202020204" pitchFamily="34" charset="0"/>
              </a:defRPr>
            </a:lvl4pPr>
            <a:lvl5pPr>
              <a:lnSpc>
                <a:spcPct val="150000"/>
              </a:lnSpc>
              <a:defRPr sz="1100">
                <a:solidFill>
                  <a:srgbClr val="085574"/>
                </a:solidFill>
                <a:latin typeface="Mylius Modern"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Title 1">
            <a:extLst>
              <a:ext uri="{FF2B5EF4-FFF2-40B4-BE49-F238E27FC236}">
                <a16:creationId xmlns:a16="http://schemas.microsoft.com/office/drawing/2014/main" id="{A4170CA9-14BC-B00B-EBE9-147B97350204}"/>
              </a:ext>
            </a:extLst>
          </p:cNvPr>
          <p:cNvSpPr>
            <a:spLocks noGrp="1"/>
          </p:cNvSpPr>
          <p:nvPr>
            <p:ph type="title" hasCustomPrompt="1"/>
          </p:nvPr>
        </p:nvSpPr>
        <p:spPr>
          <a:xfrm>
            <a:off x="343672" y="298938"/>
            <a:ext cx="9537746" cy="659423"/>
          </a:xfrm>
          <a:prstGeom prst="rect">
            <a:avLst/>
          </a:prstGeom>
        </p:spPr>
        <p:txBody>
          <a:bodyPr/>
          <a:lstStyle>
            <a:lvl1pPr>
              <a:defRPr sz="2000" spc="600">
                <a:solidFill>
                  <a:schemeClr val="bg1"/>
                </a:solidFill>
                <a:latin typeface="Mylius Modern" panose="020B0504020202020204" pitchFamily="34" charset="0"/>
              </a:defRPr>
            </a:lvl1pPr>
          </a:lstStyle>
          <a:p>
            <a:r>
              <a:rPr lang="en-GB"/>
              <a:t>CLICK TO EDIT MASTER TITLE STYLE</a:t>
            </a:r>
            <a:endParaRPr lang="en-US"/>
          </a:p>
        </p:txBody>
      </p:sp>
      <p:sp>
        <p:nvSpPr>
          <p:cNvPr id="2" name="TextBox 1">
            <a:extLst>
              <a:ext uri="{FF2B5EF4-FFF2-40B4-BE49-F238E27FC236}">
                <a16:creationId xmlns:a16="http://schemas.microsoft.com/office/drawing/2014/main" id="{58EA4E5F-7FB3-6DFB-D880-05C9354274E6}"/>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rgbClr val="E37A76"/>
                </a:solidFill>
                <a:latin typeface="Mylius Modern" panose="020B0504020202020204" pitchFamily="34" charset="0"/>
              </a:rPr>
              <a:t>INFORMATION FOR BRITISH AIRWAYS INTERNAL USE ONLY</a:t>
            </a:r>
          </a:p>
        </p:txBody>
      </p:sp>
      <p:sp>
        <p:nvSpPr>
          <p:cNvPr id="3" name="TextBox 2">
            <a:extLst>
              <a:ext uri="{FF2B5EF4-FFF2-40B4-BE49-F238E27FC236}">
                <a16:creationId xmlns:a16="http://schemas.microsoft.com/office/drawing/2014/main" id="{20B95617-6E2D-E9C6-A9E9-7E1223997562}"/>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rgbClr val="E37A76"/>
                </a:solidFill>
                <a:latin typeface="Mylius Modern" panose="020B0504020202020204" pitchFamily="34" charset="0"/>
              </a:rPr>
              <a:t>‹#›</a:t>
            </a:fld>
            <a:endParaRPr lang="en-US" sz="700" b="0" i="0" spc="0">
              <a:solidFill>
                <a:srgbClr val="E37A76"/>
              </a:solidFill>
              <a:latin typeface="Mylius Modern" panose="020B0504020202020204" pitchFamily="34" charset="0"/>
            </a:endParaRPr>
          </a:p>
        </p:txBody>
      </p:sp>
      <p:sp>
        <p:nvSpPr>
          <p:cNvPr id="6" name="Rectangle 5">
            <a:extLst>
              <a:ext uri="{FF2B5EF4-FFF2-40B4-BE49-F238E27FC236}">
                <a16:creationId xmlns:a16="http://schemas.microsoft.com/office/drawing/2014/main" id="{D74D1D95-640F-C7CC-E547-96B24EE091B3}"/>
              </a:ext>
            </a:extLst>
          </p:cNvPr>
          <p:cNvSpPr/>
          <p:nvPr userDrawn="1"/>
        </p:nvSpPr>
        <p:spPr>
          <a:xfrm>
            <a:off x="0" y="5812971"/>
            <a:ext cx="12192000" cy="1045029"/>
          </a:xfrm>
          <a:prstGeom prst="rect">
            <a:avLst/>
          </a:prstGeom>
          <a:solidFill>
            <a:srgbClr val="0855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 name="Rectangle 6">
            <a:extLst>
              <a:ext uri="{FF2B5EF4-FFF2-40B4-BE49-F238E27FC236}">
                <a16:creationId xmlns:a16="http://schemas.microsoft.com/office/drawing/2014/main" id="{E95C8453-93B7-0E46-41DD-BBA8D8573A78}"/>
              </a:ext>
            </a:extLst>
          </p:cNvPr>
          <p:cNvSpPr/>
          <p:nvPr userDrawn="1"/>
        </p:nvSpPr>
        <p:spPr>
          <a:xfrm>
            <a:off x="0" y="5812971"/>
            <a:ext cx="12192000" cy="1045029"/>
          </a:xfrm>
          <a:prstGeom prst="rect">
            <a:avLst/>
          </a:prstGeom>
          <a:gradFill>
            <a:gsLst>
              <a:gs pos="32000">
                <a:srgbClr val="085574">
                  <a:alpha val="8563"/>
                </a:srgbClr>
              </a:gs>
              <a:gs pos="0">
                <a:srgbClr val="E37A76">
                  <a:alpha val="85143"/>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6C8B374C-9937-F51E-CEAA-090C0082C721}"/>
              </a:ext>
            </a:extLst>
          </p:cNvPr>
          <p:cNvSpPr txBox="1"/>
          <p:nvPr userDrawn="1"/>
        </p:nvSpPr>
        <p:spPr>
          <a:xfrm>
            <a:off x="0" y="6606195"/>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
        <p:nvSpPr>
          <p:cNvPr id="11" name="Text Placeholder 10">
            <a:extLst>
              <a:ext uri="{FF2B5EF4-FFF2-40B4-BE49-F238E27FC236}">
                <a16:creationId xmlns:a16="http://schemas.microsoft.com/office/drawing/2014/main" id="{2E01EC9E-32DC-4B07-876D-9902227BD633}"/>
              </a:ext>
            </a:extLst>
          </p:cNvPr>
          <p:cNvSpPr>
            <a:spLocks noGrp="1"/>
          </p:cNvSpPr>
          <p:nvPr>
            <p:ph type="body" sz="quarter" idx="15" hasCustomPrompt="1"/>
          </p:nvPr>
        </p:nvSpPr>
        <p:spPr>
          <a:xfrm>
            <a:off x="227013" y="5932488"/>
            <a:ext cx="11590337" cy="625475"/>
          </a:xfrm>
          <a:prstGeom prst="rect">
            <a:avLst/>
          </a:prstGeom>
        </p:spPr>
        <p:txBody>
          <a:bodyPr/>
          <a:lstStyle>
            <a:lvl1pPr marL="0" indent="0" algn="ctr">
              <a:buNone/>
              <a:defRPr sz="1800">
                <a:solidFill>
                  <a:schemeClr val="bg1"/>
                </a:solidFill>
                <a:latin typeface="Mylius Modern" panose="020B0504020202020204" pitchFamily="34" charset="0"/>
              </a:defRPr>
            </a:lvl1pPr>
            <a:lvl2pPr marL="457200" indent="0" algn="ctr">
              <a:buNone/>
              <a:defRPr>
                <a:solidFill>
                  <a:schemeClr val="bg1"/>
                </a:solidFill>
                <a:latin typeface="Mylius Modern" panose="020B0504020202020204" pitchFamily="34" charset="0"/>
              </a:defRPr>
            </a:lvl2pPr>
            <a:lvl3pPr marL="914400" indent="0" algn="ctr">
              <a:buNone/>
              <a:defRPr>
                <a:solidFill>
                  <a:schemeClr val="bg1"/>
                </a:solidFill>
                <a:latin typeface="Mylius Modern" panose="020B0504020202020204" pitchFamily="34" charset="0"/>
              </a:defRPr>
            </a:lvl3pPr>
            <a:lvl4pPr marL="1371600" indent="0" algn="ctr">
              <a:buNone/>
              <a:defRPr>
                <a:solidFill>
                  <a:schemeClr val="bg1"/>
                </a:solidFill>
                <a:latin typeface="Mylius Modern" panose="020B0504020202020204" pitchFamily="34" charset="0"/>
              </a:defRPr>
            </a:lvl4pPr>
            <a:lvl5pPr marL="1828800" indent="0" algn="ctr">
              <a:buNone/>
              <a:defRPr>
                <a:solidFill>
                  <a:schemeClr val="bg1"/>
                </a:solidFill>
                <a:latin typeface="Mylius Modern" panose="020B0504020202020204" pitchFamily="34" charset="0"/>
              </a:defRPr>
            </a:lvl5pPr>
          </a:lstStyle>
          <a:p>
            <a:pPr lvl="0"/>
            <a:r>
              <a:rPr lang="en-US"/>
              <a:t>CLICK TO EDIT</a:t>
            </a:r>
            <a:endParaRPr lang="en-GB"/>
          </a:p>
        </p:txBody>
      </p:sp>
    </p:spTree>
    <p:extLst>
      <p:ext uri="{BB962C8B-B14F-4D97-AF65-F5344CB8AC3E}">
        <p14:creationId xmlns:p14="http://schemas.microsoft.com/office/powerpoint/2010/main" val="11933955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One Side">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8E549B28-31F2-96AB-FB5D-8D0F11987CAB}"/>
              </a:ext>
            </a:extLst>
          </p:cNvPr>
          <p:cNvSpPr>
            <a:spLocks noGrp="1"/>
          </p:cNvSpPr>
          <p:nvPr>
            <p:ph idx="14" hasCustomPrompt="1"/>
          </p:nvPr>
        </p:nvSpPr>
        <p:spPr>
          <a:xfrm>
            <a:off x="505610" y="1699454"/>
            <a:ext cx="5830644" cy="4593770"/>
          </a:xfrm>
          <a:prstGeom prst="rect">
            <a:avLst/>
          </a:prstGeom>
        </p:spPr>
        <p:txBody>
          <a:bodyPr/>
          <a:lstStyle>
            <a:lvl1pPr marL="0" indent="0">
              <a:lnSpc>
                <a:spcPct val="150000"/>
              </a:lnSpc>
              <a:buNone/>
              <a:defRPr sz="1600" b="1">
                <a:solidFill>
                  <a:srgbClr val="085574"/>
                </a:solidFill>
                <a:latin typeface="Mylius Modern" panose="020B0504020202020204" pitchFamily="34" charset="0"/>
              </a:defRPr>
            </a:lvl1pPr>
            <a:lvl2pPr marL="457200" indent="0">
              <a:lnSpc>
                <a:spcPct val="150000"/>
              </a:lnSpc>
              <a:buNone/>
              <a:defRPr sz="1400">
                <a:solidFill>
                  <a:srgbClr val="085574"/>
                </a:solidFill>
                <a:latin typeface="Mylius Modern" panose="020B0504020202020204" pitchFamily="34" charset="0"/>
              </a:defRPr>
            </a:lvl2pPr>
            <a:lvl3pPr>
              <a:lnSpc>
                <a:spcPct val="150000"/>
              </a:lnSpc>
              <a:defRPr sz="1200">
                <a:solidFill>
                  <a:srgbClr val="085574"/>
                </a:solidFill>
                <a:latin typeface="Mylius Modern" panose="020B0504020202020204" pitchFamily="34" charset="0"/>
              </a:defRPr>
            </a:lvl3pPr>
            <a:lvl4pPr>
              <a:lnSpc>
                <a:spcPct val="150000"/>
              </a:lnSpc>
              <a:defRPr sz="1100">
                <a:solidFill>
                  <a:srgbClr val="085574"/>
                </a:solidFill>
                <a:latin typeface="Mylius Modern" panose="020B0504020202020204" pitchFamily="34" charset="0"/>
              </a:defRPr>
            </a:lvl4pPr>
            <a:lvl5pPr>
              <a:lnSpc>
                <a:spcPct val="150000"/>
              </a:lnSpc>
              <a:defRPr sz="1100">
                <a:solidFill>
                  <a:srgbClr val="085574"/>
                </a:solidFill>
                <a:latin typeface="Mylius Modern"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Title 1">
            <a:extLst>
              <a:ext uri="{FF2B5EF4-FFF2-40B4-BE49-F238E27FC236}">
                <a16:creationId xmlns:a16="http://schemas.microsoft.com/office/drawing/2014/main" id="{A4170CA9-14BC-B00B-EBE9-147B97350204}"/>
              </a:ext>
            </a:extLst>
          </p:cNvPr>
          <p:cNvSpPr>
            <a:spLocks noGrp="1"/>
          </p:cNvSpPr>
          <p:nvPr>
            <p:ph type="title" hasCustomPrompt="1"/>
          </p:nvPr>
        </p:nvSpPr>
        <p:spPr>
          <a:xfrm>
            <a:off x="343672" y="298938"/>
            <a:ext cx="9537746" cy="659423"/>
          </a:xfrm>
          <a:prstGeom prst="rect">
            <a:avLst/>
          </a:prstGeom>
        </p:spPr>
        <p:txBody>
          <a:bodyPr/>
          <a:lstStyle>
            <a:lvl1pPr>
              <a:defRPr sz="2000" spc="600">
                <a:solidFill>
                  <a:schemeClr val="bg1"/>
                </a:solidFill>
                <a:latin typeface="Mylius Modern" panose="020B0504020202020204" pitchFamily="34" charset="0"/>
              </a:defRPr>
            </a:lvl1pPr>
          </a:lstStyle>
          <a:p>
            <a:r>
              <a:rPr lang="en-GB"/>
              <a:t>CLICK TO EDIT MASTER TITLE STYLE</a:t>
            </a:r>
            <a:endParaRPr lang="en-US"/>
          </a:p>
        </p:txBody>
      </p:sp>
      <p:sp>
        <p:nvSpPr>
          <p:cNvPr id="2" name="TextBox 1">
            <a:extLst>
              <a:ext uri="{FF2B5EF4-FFF2-40B4-BE49-F238E27FC236}">
                <a16:creationId xmlns:a16="http://schemas.microsoft.com/office/drawing/2014/main" id="{58EA4E5F-7FB3-6DFB-D880-05C9354274E6}"/>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rgbClr val="E37A76"/>
                </a:solidFill>
                <a:latin typeface="Mylius Modern" panose="020B0504020202020204" pitchFamily="34" charset="0"/>
              </a:rPr>
              <a:t>INFORMATION FOR BRITISH AIRWAYS INTERNAL USE ONLY</a:t>
            </a:r>
          </a:p>
        </p:txBody>
      </p:sp>
      <p:sp>
        <p:nvSpPr>
          <p:cNvPr id="3" name="TextBox 2">
            <a:extLst>
              <a:ext uri="{FF2B5EF4-FFF2-40B4-BE49-F238E27FC236}">
                <a16:creationId xmlns:a16="http://schemas.microsoft.com/office/drawing/2014/main" id="{20B95617-6E2D-E9C6-A9E9-7E1223997562}"/>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rgbClr val="E37A76"/>
                </a:solidFill>
                <a:latin typeface="Mylius Modern" panose="020B0504020202020204" pitchFamily="34" charset="0"/>
              </a:rPr>
              <a:t>‹#›</a:t>
            </a:fld>
            <a:endParaRPr lang="en-US" sz="700" b="0" i="0" spc="0">
              <a:solidFill>
                <a:srgbClr val="E37A76"/>
              </a:solidFill>
              <a:latin typeface="Mylius Modern" panose="020B0504020202020204" pitchFamily="34" charset="0"/>
            </a:endParaRPr>
          </a:p>
        </p:txBody>
      </p:sp>
    </p:spTree>
    <p:extLst>
      <p:ext uri="{BB962C8B-B14F-4D97-AF65-F5344CB8AC3E}">
        <p14:creationId xmlns:p14="http://schemas.microsoft.com/office/powerpoint/2010/main" val="2611443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ontent plus Image">
    <p:spTree>
      <p:nvGrpSpPr>
        <p:cNvPr id="1" name=""/>
        <p:cNvGrpSpPr/>
        <p:nvPr/>
      </p:nvGrpSpPr>
      <p:grpSpPr>
        <a:xfrm>
          <a:off x="0" y="0"/>
          <a:ext cx="0" cy="0"/>
          <a:chOff x="0" y="0"/>
          <a:chExt cx="0" cy="0"/>
        </a:xfrm>
      </p:grpSpPr>
      <p:sp>
        <p:nvSpPr>
          <p:cNvPr id="3" name="Picture Placeholder 9">
            <a:extLst>
              <a:ext uri="{FF2B5EF4-FFF2-40B4-BE49-F238E27FC236}">
                <a16:creationId xmlns:a16="http://schemas.microsoft.com/office/drawing/2014/main" id="{E2B4CD9F-21AD-88BD-BA17-3CCA1A7D59E3}"/>
              </a:ext>
            </a:extLst>
          </p:cNvPr>
          <p:cNvSpPr>
            <a:spLocks noGrp="1"/>
          </p:cNvSpPr>
          <p:nvPr>
            <p:ph type="pic" sz="quarter" idx="13"/>
          </p:nvPr>
        </p:nvSpPr>
        <p:spPr>
          <a:xfrm>
            <a:off x="6883298" y="1699454"/>
            <a:ext cx="4803093" cy="4593771"/>
          </a:xfrm>
          <a:prstGeom prst="rect">
            <a:avLst/>
          </a:prstGeom>
          <a:solidFill>
            <a:schemeClr val="bg1">
              <a:lumMod val="85000"/>
            </a:schemeClr>
          </a:solidFill>
        </p:spPr>
        <p:txBody>
          <a:bodyPr anchor="ctr" anchorCtr="1"/>
          <a:lstStyle>
            <a:lvl1pPr>
              <a:defRPr>
                <a:solidFill>
                  <a:srgbClr val="085574"/>
                </a:solidFill>
                <a:latin typeface="Mylius Modern" panose="020B0504020202020204" pitchFamily="34" charset="0"/>
              </a:defRPr>
            </a:lvl1pPr>
          </a:lstStyle>
          <a:p>
            <a:r>
              <a:rPr lang="en-GB"/>
              <a:t>Click icon to add picture</a:t>
            </a:r>
          </a:p>
        </p:txBody>
      </p:sp>
      <p:sp>
        <p:nvSpPr>
          <p:cNvPr id="6" name="Content Placeholder 2">
            <a:extLst>
              <a:ext uri="{FF2B5EF4-FFF2-40B4-BE49-F238E27FC236}">
                <a16:creationId xmlns:a16="http://schemas.microsoft.com/office/drawing/2014/main" id="{BE4B8FFD-C72C-0CFA-69B6-E5D31B426F33}"/>
              </a:ext>
            </a:extLst>
          </p:cNvPr>
          <p:cNvSpPr>
            <a:spLocks noGrp="1"/>
          </p:cNvSpPr>
          <p:nvPr>
            <p:ph idx="14" hasCustomPrompt="1"/>
          </p:nvPr>
        </p:nvSpPr>
        <p:spPr>
          <a:xfrm>
            <a:off x="505610" y="1699454"/>
            <a:ext cx="5830644" cy="4593770"/>
          </a:xfrm>
          <a:prstGeom prst="rect">
            <a:avLst/>
          </a:prstGeom>
        </p:spPr>
        <p:txBody>
          <a:bodyPr/>
          <a:lstStyle>
            <a:lvl1pPr marL="0" indent="0">
              <a:lnSpc>
                <a:spcPct val="150000"/>
              </a:lnSpc>
              <a:buNone/>
              <a:defRPr sz="1600" b="1">
                <a:solidFill>
                  <a:srgbClr val="085574"/>
                </a:solidFill>
                <a:latin typeface="Mylius Modern" panose="020B0504020202020204" pitchFamily="34" charset="0"/>
              </a:defRPr>
            </a:lvl1pPr>
            <a:lvl2pPr marL="457200" indent="0">
              <a:lnSpc>
                <a:spcPct val="150000"/>
              </a:lnSpc>
              <a:buNone/>
              <a:defRPr sz="1400">
                <a:solidFill>
                  <a:srgbClr val="085574"/>
                </a:solidFill>
                <a:latin typeface="Mylius Modern" panose="020B0504020202020204" pitchFamily="34" charset="0"/>
              </a:defRPr>
            </a:lvl2pPr>
            <a:lvl3pPr>
              <a:lnSpc>
                <a:spcPct val="150000"/>
              </a:lnSpc>
              <a:defRPr sz="1200">
                <a:solidFill>
                  <a:srgbClr val="085574"/>
                </a:solidFill>
                <a:latin typeface="Mylius Modern" panose="020B0504020202020204" pitchFamily="34" charset="0"/>
              </a:defRPr>
            </a:lvl3pPr>
            <a:lvl4pPr>
              <a:lnSpc>
                <a:spcPct val="150000"/>
              </a:lnSpc>
              <a:defRPr sz="1100">
                <a:solidFill>
                  <a:srgbClr val="085574"/>
                </a:solidFill>
                <a:latin typeface="Mylius Modern" panose="020B0504020202020204" pitchFamily="34" charset="0"/>
              </a:defRPr>
            </a:lvl4pPr>
            <a:lvl5pPr>
              <a:lnSpc>
                <a:spcPct val="150000"/>
              </a:lnSpc>
              <a:defRPr sz="1100">
                <a:solidFill>
                  <a:srgbClr val="085574"/>
                </a:solidFill>
                <a:latin typeface="Mylius Modern"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itle 1">
            <a:extLst>
              <a:ext uri="{FF2B5EF4-FFF2-40B4-BE49-F238E27FC236}">
                <a16:creationId xmlns:a16="http://schemas.microsoft.com/office/drawing/2014/main" id="{D8964D66-E769-54AA-7F21-66612E170541}"/>
              </a:ext>
            </a:extLst>
          </p:cNvPr>
          <p:cNvSpPr>
            <a:spLocks noGrp="1"/>
          </p:cNvSpPr>
          <p:nvPr>
            <p:ph type="title" hasCustomPrompt="1"/>
          </p:nvPr>
        </p:nvSpPr>
        <p:spPr>
          <a:xfrm>
            <a:off x="343672" y="298938"/>
            <a:ext cx="9537746" cy="659423"/>
          </a:xfrm>
          <a:prstGeom prst="rect">
            <a:avLst/>
          </a:prstGeom>
        </p:spPr>
        <p:txBody>
          <a:bodyPr/>
          <a:lstStyle>
            <a:lvl1pPr>
              <a:defRPr sz="2000" spc="600">
                <a:solidFill>
                  <a:schemeClr val="bg1"/>
                </a:solidFill>
                <a:latin typeface="Mylius Modern" panose="020B0504020202020204" pitchFamily="34" charset="0"/>
              </a:defRPr>
            </a:lvl1pPr>
          </a:lstStyle>
          <a:p>
            <a:r>
              <a:rPr lang="en-GB"/>
              <a:t>CLICK TO EDIT MASTER TITLE STYLE</a:t>
            </a:r>
            <a:endParaRPr lang="en-US"/>
          </a:p>
        </p:txBody>
      </p:sp>
      <p:sp>
        <p:nvSpPr>
          <p:cNvPr id="7" name="TextBox 6">
            <a:extLst>
              <a:ext uri="{FF2B5EF4-FFF2-40B4-BE49-F238E27FC236}">
                <a16:creationId xmlns:a16="http://schemas.microsoft.com/office/drawing/2014/main" id="{FB714601-590F-BAD4-3136-4D6F8EB74FBC}"/>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rgbClr val="E37A76"/>
                </a:solidFill>
                <a:latin typeface="Mylius Modern" panose="020B0504020202020204" pitchFamily="34" charset="0"/>
              </a:rPr>
              <a:t>INFORMATION FOR BRITISH AIRWAYS INTERNAL USE ONLY</a:t>
            </a:r>
          </a:p>
        </p:txBody>
      </p:sp>
      <p:sp>
        <p:nvSpPr>
          <p:cNvPr id="8" name="TextBox 7">
            <a:extLst>
              <a:ext uri="{FF2B5EF4-FFF2-40B4-BE49-F238E27FC236}">
                <a16:creationId xmlns:a16="http://schemas.microsoft.com/office/drawing/2014/main" id="{37384C88-BF6D-4704-92E3-B09EECB88374}"/>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rgbClr val="E37A76"/>
                </a:solidFill>
                <a:latin typeface="Mylius Modern" panose="020B0504020202020204" pitchFamily="34" charset="0"/>
              </a:rPr>
              <a:t>‹#›</a:t>
            </a:fld>
            <a:endParaRPr lang="en-US" sz="700" b="0" i="0" spc="0">
              <a:solidFill>
                <a:srgbClr val="E37A76"/>
              </a:solidFill>
              <a:latin typeface="Mylius Modern" panose="020B0504020202020204" pitchFamily="34" charset="0"/>
            </a:endParaRPr>
          </a:p>
        </p:txBody>
      </p:sp>
    </p:spTree>
    <p:extLst>
      <p:ext uri="{BB962C8B-B14F-4D97-AF65-F5344CB8AC3E}">
        <p14:creationId xmlns:p14="http://schemas.microsoft.com/office/powerpoint/2010/main" val="8643559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6" name="Picture 5" descr="A group of people running on a road&#10;&#10;Description automatically generated with low confidence">
            <a:extLst>
              <a:ext uri="{FF2B5EF4-FFF2-40B4-BE49-F238E27FC236}">
                <a16:creationId xmlns:a16="http://schemas.microsoft.com/office/drawing/2014/main" id="{1E8EE836-76F3-47FF-D8E3-A15D0494BB6E}"/>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t="-330"/>
          <a:stretch/>
        </p:blipFill>
        <p:spPr>
          <a:xfrm>
            <a:off x="0" y="-22698"/>
            <a:ext cx="12192000" cy="6880698"/>
          </a:xfrm>
          <a:prstGeom prst="rect">
            <a:avLst/>
          </a:prstGeom>
        </p:spPr>
      </p:pic>
      <p:pic>
        <p:nvPicPr>
          <p:cNvPr id="12" name="Picture 11" descr="Shape, rectangle&#10;&#10;Description automatically generated">
            <a:extLst>
              <a:ext uri="{FF2B5EF4-FFF2-40B4-BE49-F238E27FC236}">
                <a16:creationId xmlns:a16="http://schemas.microsoft.com/office/drawing/2014/main" id="{15350861-E692-8CF1-756E-27A18EFFC8D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sp>
        <p:nvSpPr>
          <p:cNvPr id="2" name="Title 1">
            <a:extLst>
              <a:ext uri="{FF2B5EF4-FFF2-40B4-BE49-F238E27FC236}">
                <a16:creationId xmlns:a16="http://schemas.microsoft.com/office/drawing/2014/main" id="{DE90CDB1-23E8-FECF-8C5F-E9EB47BC14D3}"/>
              </a:ext>
            </a:extLst>
          </p:cNvPr>
          <p:cNvSpPr>
            <a:spLocks noGrp="1"/>
          </p:cNvSpPr>
          <p:nvPr>
            <p:ph type="ctrTitle" hasCustomPrompt="1"/>
          </p:nvPr>
        </p:nvSpPr>
        <p:spPr>
          <a:xfrm>
            <a:off x="371475" y="2619351"/>
            <a:ext cx="5407269" cy="2387600"/>
          </a:xfrm>
          <a:prstGeom prst="rect">
            <a:avLst/>
          </a:prstGeom>
        </p:spPr>
        <p:txBody>
          <a:bodyPr anchor="ctr">
            <a:normAutofit/>
          </a:bodyPr>
          <a:lstStyle>
            <a:lvl1pPr algn="l">
              <a:defRPr sz="4800" b="1" i="0" spc="600">
                <a:ln w="22225">
                  <a:noFill/>
                </a:ln>
                <a:solidFill>
                  <a:schemeClr val="bg1"/>
                </a:solidFill>
                <a:latin typeface="Mylius Modern" panose="020B0504020202020204" pitchFamily="34" charset="0"/>
              </a:defRPr>
            </a:lvl1pPr>
          </a:lstStyle>
          <a:p>
            <a:r>
              <a:rPr lang="en-GB"/>
              <a:t>SECTION HEADING</a:t>
            </a:r>
            <a:endParaRPr lang="en-US"/>
          </a:p>
        </p:txBody>
      </p:sp>
      <p:sp>
        <p:nvSpPr>
          <p:cNvPr id="3" name="Subtitle 2">
            <a:extLst>
              <a:ext uri="{FF2B5EF4-FFF2-40B4-BE49-F238E27FC236}">
                <a16:creationId xmlns:a16="http://schemas.microsoft.com/office/drawing/2014/main" id="{90B7B0E9-12AB-A31E-C338-7476BFAFB625}"/>
              </a:ext>
            </a:extLst>
          </p:cNvPr>
          <p:cNvSpPr>
            <a:spLocks noGrp="1"/>
          </p:cNvSpPr>
          <p:nvPr>
            <p:ph type="subTitle" idx="1" hasCustomPrompt="1"/>
          </p:nvPr>
        </p:nvSpPr>
        <p:spPr>
          <a:xfrm>
            <a:off x="371475" y="5627077"/>
            <a:ext cx="5852747" cy="508028"/>
          </a:xfrm>
          <a:prstGeom prst="rect">
            <a:avLst/>
          </a:prstGeom>
        </p:spPr>
        <p:txBody>
          <a:bodyPr anchor="ctr">
            <a:normAutofit/>
          </a:bodyPr>
          <a:lstStyle>
            <a:lvl1pPr marL="0" indent="0" algn="l">
              <a:buNone/>
              <a:defRPr sz="1600" spc="300">
                <a:solidFill>
                  <a:schemeClr val="bg1"/>
                </a:solidFill>
                <a:latin typeface="Mylius Modern" panose="020B05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TextBox 3">
            <a:extLst>
              <a:ext uri="{FF2B5EF4-FFF2-40B4-BE49-F238E27FC236}">
                <a16:creationId xmlns:a16="http://schemas.microsoft.com/office/drawing/2014/main" id="{A0FD07A8-411C-DF34-BA4D-68464EA5B54B}"/>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
        <p:nvSpPr>
          <p:cNvPr id="7" name="TextBox 6">
            <a:extLst>
              <a:ext uri="{FF2B5EF4-FFF2-40B4-BE49-F238E27FC236}">
                <a16:creationId xmlns:a16="http://schemas.microsoft.com/office/drawing/2014/main" id="{DB098A88-1CAF-C159-6A24-8613763FB385}"/>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chemeClr val="bg1"/>
                </a:solidFill>
                <a:latin typeface="Mylius Modern" panose="020B0504020202020204" pitchFamily="34" charset="0"/>
              </a:rPr>
              <a:t>‹#›</a:t>
            </a:fld>
            <a:endParaRPr lang="en-US" sz="700" b="0" i="0" spc="0">
              <a:solidFill>
                <a:schemeClr val="bg1"/>
              </a:solidFill>
              <a:latin typeface="Mylius Modern" panose="020B0504020202020204" pitchFamily="34" charset="0"/>
            </a:endParaRPr>
          </a:p>
        </p:txBody>
      </p:sp>
      <p:pic>
        <p:nvPicPr>
          <p:cNvPr id="5" name="Picture 4">
            <a:extLst>
              <a:ext uri="{FF2B5EF4-FFF2-40B4-BE49-F238E27FC236}">
                <a16:creationId xmlns:a16="http://schemas.microsoft.com/office/drawing/2014/main" id="{1C467B62-2D55-27DF-C770-28D2F692EFDC}"/>
              </a:ext>
            </a:extLst>
          </p:cNvPr>
          <p:cNvPicPr>
            <a:picLocks noChangeAspect="1"/>
          </p:cNvPicPr>
          <p:nvPr userDrawn="1"/>
        </p:nvPicPr>
        <p:blipFill>
          <a:blip r:embed="rId4"/>
          <a:stretch>
            <a:fillRect/>
          </a:stretch>
        </p:blipFill>
        <p:spPr>
          <a:xfrm>
            <a:off x="10066300" y="298137"/>
            <a:ext cx="491744" cy="476377"/>
          </a:xfrm>
          <a:prstGeom prst="rect">
            <a:avLst/>
          </a:prstGeom>
        </p:spPr>
      </p:pic>
    </p:spTree>
    <p:extLst>
      <p:ext uri="{BB962C8B-B14F-4D97-AF65-F5344CB8AC3E}">
        <p14:creationId xmlns:p14="http://schemas.microsoft.com/office/powerpoint/2010/main" val="6731000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C403D27B-DA11-C6F6-1093-6049067F161F}"/>
              </a:ext>
            </a:extLst>
          </p:cNvPr>
          <p:cNvSpPr>
            <a:spLocks noGrp="1"/>
          </p:cNvSpPr>
          <p:nvPr>
            <p:ph idx="11" hasCustomPrompt="1"/>
          </p:nvPr>
        </p:nvSpPr>
        <p:spPr>
          <a:xfrm>
            <a:off x="505610" y="1699454"/>
            <a:ext cx="5408493" cy="4593770"/>
          </a:xfrm>
          <a:prstGeom prst="rect">
            <a:avLst/>
          </a:prstGeom>
        </p:spPr>
        <p:txBody>
          <a:bodyPr/>
          <a:lstStyle>
            <a:lvl1pPr marL="0" indent="0">
              <a:lnSpc>
                <a:spcPct val="150000"/>
              </a:lnSpc>
              <a:buNone/>
              <a:defRPr sz="1600" b="1">
                <a:solidFill>
                  <a:srgbClr val="085574"/>
                </a:solidFill>
                <a:latin typeface="Mylius Modern" panose="020B0504020202020204" pitchFamily="34" charset="0"/>
              </a:defRPr>
            </a:lvl1pPr>
            <a:lvl2pPr marL="457200" indent="0">
              <a:lnSpc>
                <a:spcPct val="150000"/>
              </a:lnSpc>
              <a:buNone/>
              <a:defRPr sz="1400">
                <a:solidFill>
                  <a:srgbClr val="085574"/>
                </a:solidFill>
                <a:latin typeface="Mylius Modern" panose="020B0504020202020204" pitchFamily="34" charset="0"/>
              </a:defRPr>
            </a:lvl2pPr>
            <a:lvl3pPr>
              <a:lnSpc>
                <a:spcPct val="150000"/>
              </a:lnSpc>
              <a:defRPr sz="1200">
                <a:solidFill>
                  <a:srgbClr val="085574"/>
                </a:solidFill>
                <a:latin typeface="Mylius Modern" panose="020B0504020202020204" pitchFamily="34" charset="0"/>
              </a:defRPr>
            </a:lvl3pPr>
            <a:lvl4pPr>
              <a:lnSpc>
                <a:spcPct val="150000"/>
              </a:lnSpc>
              <a:defRPr sz="1100">
                <a:solidFill>
                  <a:srgbClr val="085574"/>
                </a:solidFill>
                <a:latin typeface="Mylius Modern" panose="020B0504020202020204" pitchFamily="34" charset="0"/>
              </a:defRPr>
            </a:lvl4pPr>
            <a:lvl5pPr>
              <a:lnSpc>
                <a:spcPct val="150000"/>
              </a:lnSpc>
              <a:defRPr sz="1100">
                <a:solidFill>
                  <a:srgbClr val="085574"/>
                </a:solidFill>
                <a:latin typeface="Mylius Modern"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2">
            <a:extLst>
              <a:ext uri="{FF2B5EF4-FFF2-40B4-BE49-F238E27FC236}">
                <a16:creationId xmlns:a16="http://schemas.microsoft.com/office/drawing/2014/main" id="{FAB3471D-61E1-8637-DC06-C43FC14B20D7}"/>
              </a:ext>
            </a:extLst>
          </p:cNvPr>
          <p:cNvSpPr>
            <a:spLocks noGrp="1"/>
          </p:cNvSpPr>
          <p:nvPr>
            <p:ph idx="12" hasCustomPrompt="1"/>
          </p:nvPr>
        </p:nvSpPr>
        <p:spPr>
          <a:xfrm>
            <a:off x="6277899" y="1699454"/>
            <a:ext cx="5408493" cy="4593770"/>
          </a:xfrm>
          <a:prstGeom prst="rect">
            <a:avLst/>
          </a:prstGeom>
        </p:spPr>
        <p:txBody>
          <a:bodyPr/>
          <a:lstStyle>
            <a:lvl1pPr marL="0" indent="0">
              <a:lnSpc>
                <a:spcPct val="150000"/>
              </a:lnSpc>
              <a:buNone/>
              <a:defRPr sz="1600" b="1">
                <a:solidFill>
                  <a:srgbClr val="085574"/>
                </a:solidFill>
                <a:latin typeface="Mylius Modern" panose="020B0504020202020204" pitchFamily="34" charset="0"/>
              </a:defRPr>
            </a:lvl1pPr>
            <a:lvl2pPr marL="457200" indent="0">
              <a:lnSpc>
                <a:spcPct val="150000"/>
              </a:lnSpc>
              <a:buNone/>
              <a:defRPr sz="1400">
                <a:solidFill>
                  <a:srgbClr val="085574"/>
                </a:solidFill>
                <a:latin typeface="Mylius Modern" panose="020B0504020202020204" pitchFamily="34" charset="0"/>
              </a:defRPr>
            </a:lvl2pPr>
            <a:lvl3pPr>
              <a:lnSpc>
                <a:spcPct val="150000"/>
              </a:lnSpc>
              <a:defRPr sz="1200">
                <a:solidFill>
                  <a:srgbClr val="085574"/>
                </a:solidFill>
                <a:latin typeface="Mylius Modern" panose="020B0504020202020204" pitchFamily="34" charset="0"/>
              </a:defRPr>
            </a:lvl3pPr>
            <a:lvl4pPr>
              <a:lnSpc>
                <a:spcPct val="150000"/>
              </a:lnSpc>
              <a:defRPr sz="1100">
                <a:solidFill>
                  <a:srgbClr val="085574"/>
                </a:solidFill>
                <a:latin typeface="Mylius Modern" panose="020B0504020202020204" pitchFamily="34" charset="0"/>
              </a:defRPr>
            </a:lvl4pPr>
            <a:lvl5pPr>
              <a:lnSpc>
                <a:spcPct val="150000"/>
              </a:lnSpc>
              <a:defRPr sz="1100">
                <a:solidFill>
                  <a:srgbClr val="085574"/>
                </a:solidFill>
                <a:latin typeface="Mylius Modern"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itle 1">
            <a:extLst>
              <a:ext uri="{FF2B5EF4-FFF2-40B4-BE49-F238E27FC236}">
                <a16:creationId xmlns:a16="http://schemas.microsoft.com/office/drawing/2014/main" id="{B10ADA49-2FE1-E235-EDC3-82128BE0D355}"/>
              </a:ext>
            </a:extLst>
          </p:cNvPr>
          <p:cNvSpPr>
            <a:spLocks noGrp="1"/>
          </p:cNvSpPr>
          <p:nvPr>
            <p:ph type="title" hasCustomPrompt="1"/>
          </p:nvPr>
        </p:nvSpPr>
        <p:spPr>
          <a:xfrm>
            <a:off x="343672" y="298938"/>
            <a:ext cx="9537746" cy="659423"/>
          </a:xfrm>
          <a:prstGeom prst="rect">
            <a:avLst/>
          </a:prstGeom>
        </p:spPr>
        <p:txBody>
          <a:bodyPr/>
          <a:lstStyle>
            <a:lvl1pPr>
              <a:defRPr sz="2000" spc="600">
                <a:solidFill>
                  <a:schemeClr val="bg1"/>
                </a:solidFill>
                <a:latin typeface="Mylius Modern" panose="020B0504020202020204" pitchFamily="34" charset="0"/>
              </a:defRPr>
            </a:lvl1pPr>
          </a:lstStyle>
          <a:p>
            <a:r>
              <a:rPr lang="en-GB"/>
              <a:t>CLICK TO EDIT MASTER TITLE STYLE</a:t>
            </a:r>
            <a:endParaRPr lang="en-US"/>
          </a:p>
        </p:txBody>
      </p:sp>
      <p:sp>
        <p:nvSpPr>
          <p:cNvPr id="5" name="TextBox 4">
            <a:extLst>
              <a:ext uri="{FF2B5EF4-FFF2-40B4-BE49-F238E27FC236}">
                <a16:creationId xmlns:a16="http://schemas.microsoft.com/office/drawing/2014/main" id="{0196DA5A-BD8E-3EEF-B7F5-753D0750E743}"/>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rgbClr val="E37A76"/>
                </a:solidFill>
                <a:latin typeface="Mylius Modern" panose="020B0504020202020204" pitchFamily="34" charset="0"/>
              </a:rPr>
              <a:t>INFORMATION FOR BRITISH AIRWAYS INTERNAL USE ONLY</a:t>
            </a:r>
          </a:p>
        </p:txBody>
      </p:sp>
      <p:sp>
        <p:nvSpPr>
          <p:cNvPr id="6" name="TextBox 5">
            <a:extLst>
              <a:ext uri="{FF2B5EF4-FFF2-40B4-BE49-F238E27FC236}">
                <a16:creationId xmlns:a16="http://schemas.microsoft.com/office/drawing/2014/main" id="{7E9E5F0B-0975-3350-D980-C4CEFFB9D671}"/>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rgbClr val="E37A76"/>
                </a:solidFill>
                <a:latin typeface="Mylius Modern" panose="020B0504020202020204" pitchFamily="34" charset="0"/>
              </a:rPr>
              <a:t>‹#›</a:t>
            </a:fld>
            <a:endParaRPr lang="en-US" sz="700" b="0" i="0" spc="0">
              <a:solidFill>
                <a:srgbClr val="E37A76"/>
              </a:solidFill>
              <a:latin typeface="Mylius Modern" panose="020B0504020202020204" pitchFamily="34" charset="0"/>
            </a:endParaRPr>
          </a:p>
        </p:txBody>
      </p:sp>
    </p:spTree>
    <p:extLst>
      <p:ext uri="{BB962C8B-B14F-4D97-AF65-F5344CB8AC3E}">
        <p14:creationId xmlns:p14="http://schemas.microsoft.com/office/powerpoint/2010/main" val="3740496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Four Content plus Image">
    <p:spTree>
      <p:nvGrpSpPr>
        <p:cNvPr id="1" name=""/>
        <p:cNvGrpSpPr/>
        <p:nvPr/>
      </p:nvGrpSpPr>
      <p:grpSpPr>
        <a:xfrm>
          <a:off x="0" y="0"/>
          <a:ext cx="0" cy="0"/>
          <a:chOff x="0" y="0"/>
          <a:chExt cx="0" cy="0"/>
        </a:xfrm>
      </p:grpSpPr>
      <p:sp>
        <p:nvSpPr>
          <p:cNvPr id="3" name="Picture Placeholder 9">
            <a:extLst>
              <a:ext uri="{FF2B5EF4-FFF2-40B4-BE49-F238E27FC236}">
                <a16:creationId xmlns:a16="http://schemas.microsoft.com/office/drawing/2014/main" id="{E2B4CD9F-21AD-88BD-BA17-3CCA1A7D59E3}"/>
              </a:ext>
            </a:extLst>
          </p:cNvPr>
          <p:cNvSpPr>
            <a:spLocks noGrp="1"/>
          </p:cNvSpPr>
          <p:nvPr>
            <p:ph type="pic" sz="quarter" idx="13"/>
          </p:nvPr>
        </p:nvSpPr>
        <p:spPr>
          <a:xfrm>
            <a:off x="6883298" y="1699454"/>
            <a:ext cx="4803093" cy="4593771"/>
          </a:xfrm>
          <a:prstGeom prst="rect">
            <a:avLst/>
          </a:prstGeom>
          <a:solidFill>
            <a:schemeClr val="bg1">
              <a:lumMod val="85000"/>
            </a:schemeClr>
          </a:solidFill>
        </p:spPr>
        <p:txBody>
          <a:bodyPr anchor="ctr" anchorCtr="1"/>
          <a:lstStyle>
            <a:lvl1pPr>
              <a:defRPr>
                <a:solidFill>
                  <a:srgbClr val="085574"/>
                </a:solidFill>
                <a:latin typeface="Mylius Modern" panose="020B0504020202020204" pitchFamily="34" charset="0"/>
              </a:defRPr>
            </a:lvl1pPr>
          </a:lstStyle>
          <a:p>
            <a:r>
              <a:rPr lang="en-GB"/>
              <a:t>Click icon to add picture</a:t>
            </a:r>
          </a:p>
        </p:txBody>
      </p:sp>
      <p:sp>
        <p:nvSpPr>
          <p:cNvPr id="6" name="Content Placeholder 2">
            <a:extLst>
              <a:ext uri="{FF2B5EF4-FFF2-40B4-BE49-F238E27FC236}">
                <a16:creationId xmlns:a16="http://schemas.microsoft.com/office/drawing/2014/main" id="{BE4B8FFD-C72C-0CFA-69B6-E5D31B426F33}"/>
              </a:ext>
            </a:extLst>
          </p:cNvPr>
          <p:cNvSpPr>
            <a:spLocks noGrp="1"/>
          </p:cNvSpPr>
          <p:nvPr>
            <p:ph idx="14" hasCustomPrompt="1"/>
          </p:nvPr>
        </p:nvSpPr>
        <p:spPr>
          <a:xfrm>
            <a:off x="505611" y="1699455"/>
            <a:ext cx="2943014" cy="2117720"/>
          </a:xfrm>
          <a:prstGeom prst="rect">
            <a:avLst/>
          </a:prstGeom>
        </p:spPr>
        <p:txBody>
          <a:bodyPr/>
          <a:lstStyle>
            <a:lvl1pPr marL="0" indent="0">
              <a:lnSpc>
                <a:spcPct val="150000"/>
              </a:lnSpc>
              <a:buNone/>
              <a:defRPr sz="1600" b="1">
                <a:solidFill>
                  <a:srgbClr val="085574"/>
                </a:solidFill>
                <a:latin typeface="Mylius Modern" panose="020B0504020202020204" pitchFamily="34" charset="0"/>
              </a:defRPr>
            </a:lvl1pPr>
            <a:lvl2pPr marL="457200" indent="0">
              <a:lnSpc>
                <a:spcPct val="150000"/>
              </a:lnSpc>
              <a:buNone/>
              <a:defRPr sz="1400">
                <a:solidFill>
                  <a:srgbClr val="085574"/>
                </a:solidFill>
                <a:latin typeface="Mylius Modern" panose="020B0504020202020204" pitchFamily="34" charset="0"/>
              </a:defRPr>
            </a:lvl2pPr>
            <a:lvl3pPr>
              <a:lnSpc>
                <a:spcPct val="150000"/>
              </a:lnSpc>
              <a:defRPr sz="1200">
                <a:solidFill>
                  <a:srgbClr val="085574"/>
                </a:solidFill>
                <a:latin typeface="Mylius Modern" panose="020B0504020202020204" pitchFamily="34" charset="0"/>
              </a:defRPr>
            </a:lvl3pPr>
            <a:lvl4pPr>
              <a:lnSpc>
                <a:spcPct val="150000"/>
              </a:lnSpc>
              <a:defRPr sz="1100">
                <a:solidFill>
                  <a:srgbClr val="085574"/>
                </a:solidFill>
                <a:latin typeface="Mylius Modern" panose="020B0504020202020204" pitchFamily="34" charset="0"/>
              </a:defRPr>
            </a:lvl4pPr>
            <a:lvl5pPr>
              <a:lnSpc>
                <a:spcPct val="150000"/>
              </a:lnSpc>
              <a:defRPr sz="1100">
                <a:solidFill>
                  <a:srgbClr val="085574"/>
                </a:solidFill>
                <a:latin typeface="Mylius Modern"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Content Placeholder 2">
            <a:extLst>
              <a:ext uri="{FF2B5EF4-FFF2-40B4-BE49-F238E27FC236}">
                <a16:creationId xmlns:a16="http://schemas.microsoft.com/office/drawing/2014/main" id="{0A4D9C9C-B7F6-AC87-302B-3F73FF28C58F}"/>
              </a:ext>
            </a:extLst>
          </p:cNvPr>
          <p:cNvSpPr>
            <a:spLocks noGrp="1"/>
          </p:cNvSpPr>
          <p:nvPr>
            <p:ph idx="15" hasCustomPrompt="1"/>
          </p:nvPr>
        </p:nvSpPr>
        <p:spPr>
          <a:xfrm>
            <a:off x="3694454" y="1699454"/>
            <a:ext cx="2943014" cy="2117720"/>
          </a:xfrm>
          <a:prstGeom prst="rect">
            <a:avLst/>
          </a:prstGeom>
        </p:spPr>
        <p:txBody>
          <a:bodyPr/>
          <a:lstStyle>
            <a:lvl1pPr marL="0" indent="0">
              <a:lnSpc>
                <a:spcPct val="150000"/>
              </a:lnSpc>
              <a:buNone/>
              <a:defRPr sz="1600" b="1">
                <a:solidFill>
                  <a:srgbClr val="085574"/>
                </a:solidFill>
                <a:latin typeface="Mylius Modern" panose="020B0504020202020204" pitchFamily="34" charset="0"/>
              </a:defRPr>
            </a:lvl1pPr>
            <a:lvl2pPr marL="457200" indent="0">
              <a:lnSpc>
                <a:spcPct val="150000"/>
              </a:lnSpc>
              <a:buNone/>
              <a:defRPr sz="1400">
                <a:solidFill>
                  <a:srgbClr val="085574"/>
                </a:solidFill>
                <a:latin typeface="Mylius Modern" panose="020B0504020202020204" pitchFamily="34" charset="0"/>
              </a:defRPr>
            </a:lvl2pPr>
            <a:lvl3pPr>
              <a:lnSpc>
                <a:spcPct val="150000"/>
              </a:lnSpc>
              <a:defRPr sz="1200">
                <a:solidFill>
                  <a:srgbClr val="085574"/>
                </a:solidFill>
                <a:latin typeface="Mylius Modern" panose="020B0504020202020204" pitchFamily="34" charset="0"/>
              </a:defRPr>
            </a:lvl3pPr>
            <a:lvl4pPr>
              <a:lnSpc>
                <a:spcPct val="150000"/>
              </a:lnSpc>
              <a:defRPr sz="1100">
                <a:solidFill>
                  <a:srgbClr val="085574"/>
                </a:solidFill>
                <a:latin typeface="Mylius Modern" panose="020B0504020202020204" pitchFamily="34" charset="0"/>
              </a:defRPr>
            </a:lvl4pPr>
            <a:lvl5pPr>
              <a:lnSpc>
                <a:spcPct val="150000"/>
              </a:lnSpc>
              <a:defRPr sz="1100">
                <a:solidFill>
                  <a:srgbClr val="085574"/>
                </a:solidFill>
                <a:latin typeface="Mylius Modern"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2">
            <a:extLst>
              <a:ext uri="{FF2B5EF4-FFF2-40B4-BE49-F238E27FC236}">
                <a16:creationId xmlns:a16="http://schemas.microsoft.com/office/drawing/2014/main" id="{E974727C-0539-0D48-0DC6-FA27CA2B51FB}"/>
              </a:ext>
            </a:extLst>
          </p:cNvPr>
          <p:cNvSpPr>
            <a:spLocks noGrp="1"/>
          </p:cNvSpPr>
          <p:nvPr>
            <p:ph idx="16" hasCustomPrompt="1"/>
          </p:nvPr>
        </p:nvSpPr>
        <p:spPr>
          <a:xfrm>
            <a:off x="505611" y="4175507"/>
            <a:ext cx="2943014" cy="2117720"/>
          </a:xfrm>
          <a:prstGeom prst="rect">
            <a:avLst/>
          </a:prstGeom>
        </p:spPr>
        <p:txBody>
          <a:bodyPr/>
          <a:lstStyle>
            <a:lvl1pPr marL="0" indent="0">
              <a:lnSpc>
                <a:spcPct val="150000"/>
              </a:lnSpc>
              <a:buNone/>
              <a:defRPr sz="1600" b="1">
                <a:solidFill>
                  <a:srgbClr val="085574"/>
                </a:solidFill>
                <a:latin typeface="Mylius Modern" panose="020B0504020202020204" pitchFamily="34" charset="0"/>
              </a:defRPr>
            </a:lvl1pPr>
            <a:lvl2pPr marL="457200" indent="0">
              <a:lnSpc>
                <a:spcPct val="150000"/>
              </a:lnSpc>
              <a:buNone/>
              <a:defRPr sz="1400">
                <a:solidFill>
                  <a:srgbClr val="085574"/>
                </a:solidFill>
                <a:latin typeface="Mylius Modern" panose="020B0504020202020204" pitchFamily="34" charset="0"/>
              </a:defRPr>
            </a:lvl2pPr>
            <a:lvl3pPr>
              <a:lnSpc>
                <a:spcPct val="150000"/>
              </a:lnSpc>
              <a:defRPr sz="1200">
                <a:solidFill>
                  <a:srgbClr val="085574"/>
                </a:solidFill>
                <a:latin typeface="Mylius Modern" panose="020B0504020202020204" pitchFamily="34" charset="0"/>
              </a:defRPr>
            </a:lvl3pPr>
            <a:lvl4pPr>
              <a:lnSpc>
                <a:spcPct val="150000"/>
              </a:lnSpc>
              <a:defRPr sz="1100">
                <a:solidFill>
                  <a:srgbClr val="085574"/>
                </a:solidFill>
                <a:latin typeface="Mylius Modern" panose="020B0504020202020204" pitchFamily="34" charset="0"/>
              </a:defRPr>
            </a:lvl4pPr>
            <a:lvl5pPr>
              <a:lnSpc>
                <a:spcPct val="150000"/>
              </a:lnSpc>
              <a:defRPr sz="1100">
                <a:solidFill>
                  <a:srgbClr val="085574"/>
                </a:solidFill>
                <a:latin typeface="Mylius Modern"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Content Placeholder 2">
            <a:extLst>
              <a:ext uri="{FF2B5EF4-FFF2-40B4-BE49-F238E27FC236}">
                <a16:creationId xmlns:a16="http://schemas.microsoft.com/office/drawing/2014/main" id="{5B58FDA8-809D-685E-90FD-777FD221C957}"/>
              </a:ext>
            </a:extLst>
          </p:cNvPr>
          <p:cNvSpPr>
            <a:spLocks noGrp="1"/>
          </p:cNvSpPr>
          <p:nvPr>
            <p:ph idx="17" hasCustomPrompt="1"/>
          </p:nvPr>
        </p:nvSpPr>
        <p:spPr>
          <a:xfrm>
            <a:off x="3694454" y="4175506"/>
            <a:ext cx="2943014" cy="2117720"/>
          </a:xfrm>
          <a:prstGeom prst="rect">
            <a:avLst/>
          </a:prstGeom>
        </p:spPr>
        <p:txBody>
          <a:bodyPr/>
          <a:lstStyle>
            <a:lvl1pPr marL="0" indent="0">
              <a:lnSpc>
                <a:spcPct val="150000"/>
              </a:lnSpc>
              <a:buNone/>
              <a:defRPr sz="1600" b="1">
                <a:solidFill>
                  <a:srgbClr val="085574"/>
                </a:solidFill>
                <a:latin typeface="Mylius Modern" panose="020B0504020202020204" pitchFamily="34" charset="0"/>
              </a:defRPr>
            </a:lvl1pPr>
            <a:lvl2pPr marL="457200" indent="0">
              <a:lnSpc>
                <a:spcPct val="150000"/>
              </a:lnSpc>
              <a:buNone/>
              <a:defRPr sz="1400">
                <a:solidFill>
                  <a:srgbClr val="085574"/>
                </a:solidFill>
                <a:latin typeface="Mylius Modern" panose="020B0504020202020204" pitchFamily="34" charset="0"/>
              </a:defRPr>
            </a:lvl2pPr>
            <a:lvl3pPr>
              <a:lnSpc>
                <a:spcPct val="150000"/>
              </a:lnSpc>
              <a:defRPr sz="1200">
                <a:solidFill>
                  <a:srgbClr val="085574"/>
                </a:solidFill>
                <a:latin typeface="Mylius Modern" panose="020B0504020202020204" pitchFamily="34" charset="0"/>
              </a:defRPr>
            </a:lvl3pPr>
            <a:lvl4pPr>
              <a:lnSpc>
                <a:spcPct val="150000"/>
              </a:lnSpc>
              <a:defRPr sz="1100">
                <a:solidFill>
                  <a:srgbClr val="085574"/>
                </a:solidFill>
                <a:latin typeface="Mylius Modern" panose="020B0504020202020204" pitchFamily="34" charset="0"/>
              </a:defRPr>
            </a:lvl4pPr>
            <a:lvl5pPr>
              <a:lnSpc>
                <a:spcPct val="150000"/>
              </a:lnSpc>
              <a:defRPr sz="1100">
                <a:solidFill>
                  <a:srgbClr val="085574"/>
                </a:solidFill>
                <a:latin typeface="Mylius Modern"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Title 1">
            <a:extLst>
              <a:ext uri="{FF2B5EF4-FFF2-40B4-BE49-F238E27FC236}">
                <a16:creationId xmlns:a16="http://schemas.microsoft.com/office/drawing/2014/main" id="{60925EEE-CBFC-AF06-CFB6-14C969022D5D}"/>
              </a:ext>
            </a:extLst>
          </p:cNvPr>
          <p:cNvSpPr>
            <a:spLocks noGrp="1"/>
          </p:cNvSpPr>
          <p:nvPr>
            <p:ph type="title" hasCustomPrompt="1"/>
          </p:nvPr>
        </p:nvSpPr>
        <p:spPr>
          <a:xfrm>
            <a:off x="343672" y="298938"/>
            <a:ext cx="9537746" cy="659423"/>
          </a:xfrm>
          <a:prstGeom prst="rect">
            <a:avLst/>
          </a:prstGeom>
        </p:spPr>
        <p:txBody>
          <a:bodyPr/>
          <a:lstStyle>
            <a:lvl1pPr>
              <a:defRPr sz="2000" spc="600">
                <a:solidFill>
                  <a:schemeClr val="bg1"/>
                </a:solidFill>
                <a:latin typeface="Mylius Modern" panose="020B0504020202020204" pitchFamily="34" charset="0"/>
              </a:defRPr>
            </a:lvl1pPr>
          </a:lstStyle>
          <a:p>
            <a:r>
              <a:rPr lang="en-GB"/>
              <a:t>CLICK TO EDIT MASTER TITLE STYLE</a:t>
            </a:r>
            <a:endParaRPr lang="en-US"/>
          </a:p>
        </p:txBody>
      </p:sp>
      <p:sp>
        <p:nvSpPr>
          <p:cNvPr id="10" name="TextBox 9">
            <a:extLst>
              <a:ext uri="{FF2B5EF4-FFF2-40B4-BE49-F238E27FC236}">
                <a16:creationId xmlns:a16="http://schemas.microsoft.com/office/drawing/2014/main" id="{9C3C8098-C9E5-58CE-5A74-84D1B02D522A}"/>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rgbClr val="E37A76"/>
                </a:solidFill>
                <a:latin typeface="Mylius Modern" panose="020B0504020202020204" pitchFamily="34" charset="0"/>
              </a:rPr>
              <a:t>INFORMATION FOR BRITISH AIRWAYS INTERNAL USE ONLY</a:t>
            </a:r>
          </a:p>
        </p:txBody>
      </p:sp>
      <p:sp>
        <p:nvSpPr>
          <p:cNvPr id="11" name="TextBox 10">
            <a:extLst>
              <a:ext uri="{FF2B5EF4-FFF2-40B4-BE49-F238E27FC236}">
                <a16:creationId xmlns:a16="http://schemas.microsoft.com/office/drawing/2014/main" id="{0E813995-0CD1-D12F-A3D5-1DF5F4610C25}"/>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rgbClr val="E37A76"/>
                </a:solidFill>
                <a:latin typeface="Mylius Modern" panose="020B0504020202020204" pitchFamily="34" charset="0"/>
              </a:rPr>
              <a:t>‹#›</a:t>
            </a:fld>
            <a:endParaRPr lang="en-US" sz="700" b="0" i="0" spc="0">
              <a:solidFill>
                <a:srgbClr val="E37A76"/>
              </a:solidFill>
              <a:latin typeface="Mylius Modern" panose="020B0504020202020204" pitchFamily="34" charset="0"/>
            </a:endParaRPr>
          </a:p>
        </p:txBody>
      </p:sp>
    </p:spTree>
    <p:extLst>
      <p:ext uri="{BB962C8B-B14F-4D97-AF65-F5344CB8AC3E}">
        <p14:creationId xmlns:p14="http://schemas.microsoft.com/office/powerpoint/2010/main" val="26251270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Content plus Char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E4B8FFD-C72C-0CFA-69B6-E5D31B426F33}"/>
              </a:ext>
            </a:extLst>
          </p:cNvPr>
          <p:cNvSpPr>
            <a:spLocks noGrp="1"/>
          </p:cNvSpPr>
          <p:nvPr>
            <p:ph idx="14" hasCustomPrompt="1"/>
          </p:nvPr>
        </p:nvSpPr>
        <p:spPr>
          <a:xfrm>
            <a:off x="505610" y="1699454"/>
            <a:ext cx="4077148" cy="4351336"/>
          </a:xfrm>
          <a:prstGeom prst="rect">
            <a:avLst/>
          </a:prstGeom>
        </p:spPr>
        <p:txBody>
          <a:bodyPr/>
          <a:lstStyle>
            <a:lvl1pPr marL="0" indent="0">
              <a:lnSpc>
                <a:spcPct val="150000"/>
              </a:lnSpc>
              <a:buNone/>
              <a:defRPr sz="1600" b="1">
                <a:solidFill>
                  <a:srgbClr val="085574"/>
                </a:solidFill>
                <a:latin typeface="Mylius Modern" panose="020B0504020202020204" pitchFamily="34" charset="0"/>
              </a:defRPr>
            </a:lvl1pPr>
            <a:lvl2pPr marL="457200" indent="0">
              <a:lnSpc>
                <a:spcPct val="150000"/>
              </a:lnSpc>
              <a:buNone/>
              <a:defRPr sz="1400">
                <a:solidFill>
                  <a:srgbClr val="085574"/>
                </a:solidFill>
                <a:latin typeface="Mylius Modern" panose="020B0504020202020204" pitchFamily="34" charset="0"/>
              </a:defRPr>
            </a:lvl2pPr>
            <a:lvl3pPr>
              <a:lnSpc>
                <a:spcPct val="150000"/>
              </a:lnSpc>
              <a:defRPr sz="1200">
                <a:solidFill>
                  <a:srgbClr val="085574"/>
                </a:solidFill>
                <a:latin typeface="Mylius Modern" panose="020B0504020202020204" pitchFamily="34" charset="0"/>
              </a:defRPr>
            </a:lvl3pPr>
            <a:lvl4pPr>
              <a:lnSpc>
                <a:spcPct val="150000"/>
              </a:lnSpc>
              <a:defRPr sz="1100">
                <a:solidFill>
                  <a:srgbClr val="085574"/>
                </a:solidFill>
                <a:latin typeface="Mylius Modern" panose="020B0504020202020204" pitchFamily="34" charset="0"/>
              </a:defRPr>
            </a:lvl4pPr>
            <a:lvl5pPr>
              <a:lnSpc>
                <a:spcPct val="150000"/>
              </a:lnSpc>
              <a:defRPr sz="1100">
                <a:solidFill>
                  <a:srgbClr val="085574"/>
                </a:solidFill>
                <a:latin typeface="Mylius Modern"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Chart Placeholder 11">
            <a:extLst>
              <a:ext uri="{FF2B5EF4-FFF2-40B4-BE49-F238E27FC236}">
                <a16:creationId xmlns:a16="http://schemas.microsoft.com/office/drawing/2014/main" id="{B69E0412-57ED-0761-A14D-737E493EED8C}"/>
              </a:ext>
            </a:extLst>
          </p:cNvPr>
          <p:cNvSpPr>
            <a:spLocks noGrp="1"/>
          </p:cNvSpPr>
          <p:nvPr>
            <p:ph type="chart" sz="quarter" idx="15"/>
          </p:nvPr>
        </p:nvSpPr>
        <p:spPr>
          <a:xfrm>
            <a:off x="4981303" y="1699453"/>
            <a:ext cx="6705087" cy="4351337"/>
          </a:xfrm>
          <a:prstGeom prst="rect">
            <a:avLst/>
          </a:prstGeom>
        </p:spPr>
        <p:txBody>
          <a:bodyPr anchor="ctr" anchorCtr="1"/>
          <a:lstStyle>
            <a:lvl1pPr>
              <a:defRPr>
                <a:solidFill>
                  <a:srgbClr val="0B5574"/>
                </a:solidFill>
              </a:defRPr>
            </a:lvl1pPr>
          </a:lstStyle>
          <a:p>
            <a:r>
              <a:rPr lang="en-GB"/>
              <a:t>Click icon to add chart</a:t>
            </a:r>
          </a:p>
        </p:txBody>
      </p:sp>
      <p:sp>
        <p:nvSpPr>
          <p:cNvPr id="5" name="Title 1">
            <a:extLst>
              <a:ext uri="{FF2B5EF4-FFF2-40B4-BE49-F238E27FC236}">
                <a16:creationId xmlns:a16="http://schemas.microsoft.com/office/drawing/2014/main" id="{C3B392E9-F30B-E9CA-3148-3A9DE0061138}"/>
              </a:ext>
            </a:extLst>
          </p:cNvPr>
          <p:cNvSpPr>
            <a:spLocks noGrp="1"/>
          </p:cNvSpPr>
          <p:nvPr>
            <p:ph type="title" hasCustomPrompt="1"/>
          </p:nvPr>
        </p:nvSpPr>
        <p:spPr>
          <a:xfrm>
            <a:off x="343672" y="298938"/>
            <a:ext cx="9537746" cy="659423"/>
          </a:xfrm>
          <a:prstGeom prst="rect">
            <a:avLst/>
          </a:prstGeom>
        </p:spPr>
        <p:txBody>
          <a:bodyPr/>
          <a:lstStyle>
            <a:lvl1pPr>
              <a:defRPr sz="2000" spc="600">
                <a:solidFill>
                  <a:schemeClr val="bg1"/>
                </a:solidFill>
                <a:latin typeface="Mylius Modern" panose="020B0504020202020204" pitchFamily="34" charset="0"/>
              </a:defRPr>
            </a:lvl1pPr>
          </a:lstStyle>
          <a:p>
            <a:r>
              <a:rPr lang="en-GB"/>
              <a:t>CLICK TO EDIT MASTER TITLE STYLE</a:t>
            </a:r>
            <a:endParaRPr lang="en-US"/>
          </a:p>
        </p:txBody>
      </p:sp>
      <p:sp>
        <p:nvSpPr>
          <p:cNvPr id="7" name="TextBox 6">
            <a:extLst>
              <a:ext uri="{FF2B5EF4-FFF2-40B4-BE49-F238E27FC236}">
                <a16:creationId xmlns:a16="http://schemas.microsoft.com/office/drawing/2014/main" id="{201BE4CB-757C-68F9-FE4F-48FD7F6ABC19}"/>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rgbClr val="E37A76"/>
                </a:solidFill>
                <a:latin typeface="Mylius Modern" panose="020B0504020202020204" pitchFamily="34" charset="0"/>
              </a:rPr>
              <a:t>INFORMATION FOR BRITISH AIRWAYS INTERNAL USE ONLY</a:t>
            </a:r>
          </a:p>
        </p:txBody>
      </p:sp>
      <p:sp>
        <p:nvSpPr>
          <p:cNvPr id="8" name="TextBox 7">
            <a:extLst>
              <a:ext uri="{FF2B5EF4-FFF2-40B4-BE49-F238E27FC236}">
                <a16:creationId xmlns:a16="http://schemas.microsoft.com/office/drawing/2014/main" id="{DD45E505-9F59-DBE6-B109-F5B5D0AA37B6}"/>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rgbClr val="E37A76"/>
                </a:solidFill>
                <a:latin typeface="Mylius Modern" panose="020B0504020202020204" pitchFamily="34" charset="0"/>
              </a:rPr>
              <a:t>‹#›</a:t>
            </a:fld>
            <a:endParaRPr lang="en-US" sz="700" b="0" i="0" spc="0">
              <a:solidFill>
                <a:srgbClr val="E37A76"/>
              </a:solidFill>
              <a:latin typeface="Mylius Modern" panose="020B0504020202020204" pitchFamily="34" charset="0"/>
            </a:endParaRPr>
          </a:p>
        </p:txBody>
      </p:sp>
    </p:spTree>
    <p:extLst>
      <p:ext uri="{BB962C8B-B14F-4D97-AF65-F5344CB8AC3E}">
        <p14:creationId xmlns:p14="http://schemas.microsoft.com/office/powerpoint/2010/main" val="39362066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_Four Conten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07F1CE74-03AC-2E60-A593-59D509022A52}"/>
              </a:ext>
            </a:extLst>
          </p:cNvPr>
          <p:cNvSpPr>
            <a:spLocks noGrp="1"/>
          </p:cNvSpPr>
          <p:nvPr>
            <p:ph idx="1" hasCustomPrompt="1"/>
          </p:nvPr>
        </p:nvSpPr>
        <p:spPr>
          <a:xfrm>
            <a:off x="432163" y="1699454"/>
            <a:ext cx="2591256" cy="4351338"/>
          </a:xfrm>
          <a:prstGeom prst="rect">
            <a:avLst/>
          </a:prstGeom>
        </p:spPr>
        <p:txBody>
          <a:bodyPr/>
          <a:lstStyle>
            <a:lvl1pPr marL="0" indent="0">
              <a:lnSpc>
                <a:spcPct val="100000"/>
              </a:lnSpc>
              <a:buNone/>
              <a:defRPr sz="1600" b="1">
                <a:solidFill>
                  <a:srgbClr val="085574"/>
                </a:solidFill>
                <a:latin typeface="Mylius Modern" panose="020B0504020202020204" pitchFamily="34" charset="0"/>
              </a:defRPr>
            </a:lvl1pPr>
            <a:lvl2pPr marL="7938" indent="0">
              <a:buNone/>
              <a:tabLst/>
              <a:defRPr sz="1400">
                <a:solidFill>
                  <a:srgbClr val="085574"/>
                </a:solidFill>
                <a:latin typeface="Mylius Modern" panose="020B0504020202020204" pitchFamily="34" charset="0"/>
              </a:defRPr>
            </a:lvl2pPr>
            <a:lvl3pPr marL="447675" indent="-188913">
              <a:tabLst/>
              <a:defRPr sz="1200">
                <a:solidFill>
                  <a:srgbClr val="085574"/>
                </a:solidFill>
                <a:latin typeface="Mylius Modern" panose="020B0504020202020204" pitchFamily="34" charset="0"/>
              </a:defRPr>
            </a:lvl3pPr>
            <a:lvl4pPr marL="715963" indent="-233363">
              <a:tabLst/>
              <a:defRPr sz="1100">
                <a:solidFill>
                  <a:srgbClr val="085574"/>
                </a:solidFill>
                <a:latin typeface="Mylius Modern" panose="020B0504020202020204" pitchFamily="34" charset="0"/>
              </a:defRPr>
            </a:lvl4pPr>
            <a:lvl5pPr marL="984250" indent="-233363">
              <a:tabLst/>
              <a:defRPr sz="1100">
                <a:solidFill>
                  <a:srgbClr val="085574"/>
                </a:solidFill>
                <a:latin typeface="Mylius Modern"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2">
            <a:extLst>
              <a:ext uri="{FF2B5EF4-FFF2-40B4-BE49-F238E27FC236}">
                <a16:creationId xmlns:a16="http://schemas.microsoft.com/office/drawing/2014/main" id="{BDAD20B4-1E6E-1589-C618-A0E02F1C5F95}"/>
              </a:ext>
            </a:extLst>
          </p:cNvPr>
          <p:cNvSpPr>
            <a:spLocks noGrp="1"/>
          </p:cNvSpPr>
          <p:nvPr>
            <p:ph idx="10" hasCustomPrompt="1"/>
          </p:nvPr>
        </p:nvSpPr>
        <p:spPr>
          <a:xfrm>
            <a:off x="3347884" y="1699454"/>
            <a:ext cx="2591256" cy="4351338"/>
          </a:xfrm>
          <a:prstGeom prst="rect">
            <a:avLst/>
          </a:prstGeom>
        </p:spPr>
        <p:txBody>
          <a:bodyPr/>
          <a:lstStyle>
            <a:lvl1pPr marL="0" indent="0">
              <a:lnSpc>
                <a:spcPct val="100000"/>
              </a:lnSpc>
              <a:buNone/>
              <a:defRPr sz="1600" b="1">
                <a:solidFill>
                  <a:srgbClr val="085574"/>
                </a:solidFill>
                <a:latin typeface="Mylius Modern" panose="020B0504020202020204" pitchFamily="34" charset="0"/>
              </a:defRPr>
            </a:lvl1pPr>
            <a:lvl2pPr marL="7938" indent="0">
              <a:buNone/>
              <a:tabLst/>
              <a:defRPr sz="1400">
                <a:solidFill>
                  <a:srgbClr val="085574"/>
                </a:solidFill>
                <a:latin typeface="Mylius Modern" panose="020B0504020202020204" pitchFamily="34" charset="0"/>
              </a:defRPr>
            </a:lvl2pPr>
            <a:lvl3pPr marL="447675" indent="-188913">
              <a:tabLst/>
              <a:defRPr sz="1200">
                <a:solidFill>
                  <a:srgbClr val="085574"/>
                </a:solidFill>
                <a:latin typeface="Mylius Modern" panose="020B0504020202020204" pitchFamily="34" charset="0"/>
              </a:defRPr>
            </a:lvl3pPr>
            <a:lvl4pPr marL="715963" indent="-233363">
              <a:tabLst/>
              <a:defRPr sz="1100">
                <a:solidFill>
                  <a:srgbClr val="085574"/>
                </a:solidFill>
                <a:latin typeface="Mylius Modern" panose="020B0504020202020204" pitchFamily="34" charset="0"/>
              </a:defRPr>
            </a:lvl4pPr>
            <a:lvl5pPr marL="984250" indent="-233363">
              <a:tabLst/>
              <a:defRPr sz="1100">
                <a:solidFill>
                  <a:srgbClr val="085574"/>
                </a:solidFill>
                <a:latin typeface="Mylius Modern"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Content Placeholder 2">
            <a:extLst>
              <a:ext uri="{FF2B5EF4-FFF2-40B4-BE49-F238E27FC236}">
                <a16:creationId xmlns:a16="http://schemas.microsoft.com/office/drawing/2014/main" id="{5E89802C-F0A4-5467-2BEF-56EE2D05B72D}"/>
              </a:ext>
            </a:extLst>
          </p:cNvPr>
          <p:cNvSpPr>
            <a:spLocks noGrp="1"/>
          </p:cNvSpPr>
          <p:nvPr>
            <p:ph idx="11" hasCustomPrompt="1"/>
          </p:nvPr>
        </p:nvSpPr>
        <p:spPr>
          <a:xfrm>
            <a:off x="6263605" y="1699454"/>
            <a:ext cx="2591256" cy="4351338"/>
          </a:xfrm>
          <a:prstGeom prst="rect">
            <a:avLst/>
          </a:prstGeom>
        </p:spPr>
        <p:txBody>
          <a:bodyPr/>
          <a:lstStyle>
            <a:lvl1pPr marL="0" indent="0">
              <a:lnSpc>
                <a:spcPct val="100000"/>
              </a:lnSpc>
              <a:buNone/>
              <a:defRPr sz="1600" b="1">
                <a:solidFill>
                  <a:srgbClr val="085574"/>
                </a:solidFill>
                <a:latin typeface="Mylius Modern" panose="020B0504020202020204" pitchFamily="34" charset="0"/>
              </a:defRPr>
            </a:lvl1pPr>
            <a:lvl2pPr marL="7938" indent="0">
              <a:buNone/>
              <a:tabLst/>
              <a:defRPr sz="1400">
                <a:solidFill>
                  <a:srgbClr val="085574"/>
                </a:solidFill>
                <a:latin typeface="Mylius Modern" panose="020B0504020202020204" pitchFamily="34" charset="0"/>
              </a:defRPr>
            </a:lvl2pPr>
            <a:lvl3pPr marL="447675" indent="-188913">
              <a:tabLst/>
              <a:defRPr sz="1200">
                <a:solidFill>
                  <a:srgbClr val="085574"/>
                </a:solidFill>
                <a:latin typeface="Mylius Modern" panose="020B0504020202020204" pitchFamily="34" charset="0"/>
              </a:defRPr>
            </a:lvl3pPr>
            <a:lvl4pPr marL="715963" indent="-233363">
              <a:tabLst/>
              <a:defRPr sz="1100">
                <a:solidFill>
                  <a:srgbClr val="085574"/>
                </a:solidFill>
                <a:latin typeface="Mylius Modern" panose="020B0504020202020204" pitchFamily="34" charset="0"/>
              </a:defRPr>
            </a:lvl4pPr>
            <a:lvl5pPr marL="984250" indent="-233363">
              <a:tabLst/>
              <a:defRPr sz="1100">
                <a:solidFill>
                  <a:srgbClr val="085574"/>
                </a:solidFill>
                <a:latin typeface="Mylius Modern"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2">
            <a:extLst>
              <a:ext uri="{FF2B5EF4-FFF2-40B4-BE49-F238E27FC236}">
                <a16:creationId xmlns:a16="http://schemas.microsoft.com/office/drawing/2014/main" id="{6EB13A68-30A9-C94D-81C9-C7FD2A039C73}"/>
              </a:ext>
            </a:extLst>
          </p:cNvPr>
          <p:cNvSpPr>
            <a:spLocks noGrp="1"/>
          </p:cNvSpPr>
          <p:nvPr>
            <p:ph idx="12" hasCustomPrompt="1"/>
          </p:nvPr>
        </p:nvSpPr>
        <p:spPr>
          <a:xfrm>
            <a:off x="9179326" y="1699454"/>
            <a:ext cx="2591256" cy="4351338"/>
          </a:xfrm>
          <a:prstGeom prst="rect">
            <a:avLst/>
          </a:prstGeom>
        </p:spPr>
        <p:txBody>
          <a:bodyPr/>
          <a:lstStyle>
            <a:lvl1pPr marL="0" indent="0">
              <a:lnSpc>
                <a:spcPct val="100000"/>
              </a:lnSpc>
              <a:buNone/>
              <a:defRPr sz="1600" b="1">
                <a:solidFill>
                  <a:srgbClr val="085574"/>
                </a:solidFill>
                <a:latin typeface="Mylius Modern" panose="020B0504020202020204" pitchFamily="34" charset="0"/>
              </a:defRPr>
            </a:lvl1pPr>
            <a:lvl2pPr marL="7938" indent="0">
              <a:buNone/>
              <a:tabLst/>
              <a:defRPr sz="1400">
                <a:solidFill>
                  <a:srgbClr val="085574"/>
                </a:solidFill>
                <a:latin typeface="Mylius Modern" panose="020B0504020202020204" pitchFamily="34" charset="0"/>
              </a:defRPr>
            </a:lvl2pPr>
            <a:lvl3pPr marL="447675" indent="-188913">
              <a:tabLst/>
              <a:defRPr sz="1200">
                <a:solidFill>
                  <a:srgbClr val="085574"/>
                </a:solidFill>
                <a:latin typeface="Mylius Modern" panose="020B0504020202020204" pitchFamily="34" charset="0"/>
              </a:defRPr>
            </a:lvl3pPr>
            <a:lvl4pPr marL="715963" indent="-233363">
              <a:tabLst/>
              <a:defRPr sz="1100">
                <a:solidFill>
                  <a:srgbClr val="085574"/>
                </a:solidFill>
                <a:latin typeface="Mylius Modern" panose="020B0504020202020204" pitchFamily="34" charset="0"/>
              </a:defRPr>
            </a:lvl4pPr>
            <a:lvl5pPr marL="984250" indent="-233363">
              <a:tabLst/>
              <a:defRPr sz="1100">
                <a:solidFill>
                  <a:srgbClr val="085574"/>
                </a:solidFill>
                <a:latin typeface="Mylius Modern"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1">
            <a:extLst>
              <a:ext uri="{FF2B5EF4-FFF2-40B4-BE49-F238E27FC236}">
                <a16:creationId xmlns:a16="http://schemas.microsoft.com/office/drawing/2014/main" id="{E9A80D1C-9E1C-72E0-4611-9CD085616BB2}"/>
              </a:ext>
            </a:extLst>
          </p:cNvPr>
          <p:cNvSpPr>
            <a:spLocks noGrp="1"/>
          </p:cNvSpPr>
          <p:nvPr>
            <p:ph type="title" hasCustomPrompt="1"/>
          </p:nvPr>
        </p:nvSpPr>
        <p:spPr>
          <a:xfrm>
            <a:off x="343672" y="298938"/>
            <a:ext cx="9537746" cy="659423"/>
          </a:xfrm>
          <a:prstGeom prst="rect">
            <a:avLst/>
          </a:prstGeom>
        </p:spPr>
        <p:txBody>
          <a:bodyPr/>
          <a:lstStyle>
            <a:lvl1pPr>
              <a:defRPr sz="2000" spc="600">
                <a:solidFill>
                  <a:schemeClr val="bg1"/>
                </a:solidFill>
                <a:latin typeface="Mylius Modern" panose="020B0504020202020204" pitchFamily="34" charset="0"/>
              </a:defRPr>
            </a:lvl1pPr>
          </a:lstStyle>
          <a:p>
            <a:r>
              <a:rPr lang="en-GB"/>
              <a:t>CLICK TO EDIT MASTER TITLE STYLE</a:t>
            </a:r>
            <a:endParaRPr lang="en-US"/>
          </a:p>
        </p:txBody>
      </p:sp>
      <p:sp>
        <p:nvSpPr>
          <p:cNvPr id="4" name="TextBox 3">
            <a:extLst>
              <a:ext uri="{FF2B5EF4-FFF2-40B4-BE49-F238E27FC236}">
                <a16:creationId xmlns:a16="http://schemas.microsoft.com/office/drawing/2014/main" id="{F54C1A90-EDE7-52FD-3216-E8B5E4497AC7}"/>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rgbClr val="E37A76"/>
                </a:solidFill>
                <a:latin typeface="Mylius Modern" panose="020B0504020202020204" pitchFamily="34" charset="0"/>
              </a:rPr>
              <a:t>INFORMATION FOR BRITISH AIRWAYS INTERNAL USE ONLY</a:t>
            </a:r>
          </a:p>
        </p:txBody>
      </p:sp>
      <p:sp>
        <p:nvSpPr>
          <p:cNvPr id="5" name="TextBox 4">
            <a:extLst>
              <a:ext uri="{FF2B5EF4-FFF2-40B4-BE49-F238E27FC236}">
                <a16:creationId xmlns:a16="http://schemas.microsoft.com/office/drawing/2014/main" id="{F50FE477-CD68-F80B-45C8-A92F6293ED91}"/>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rgbClr val="E37A76"/>
                </a:solidFill>
                <a:latin typeface="Mylius Modern" panose="020B0504020202020204" pitchFamily="34" charset="0"/>
              </a:rPr>
              <a:t>‹#›</a:t>
            </a:fld>
            <a:endParaRPr lang="en-US" sz="700" b="0" i="0" spc="0">
              <a:solidFill>
                <a:srgbClr val="E37A76"/>
              </a:solidFill>
              <a:latin typeface="Mylius Modern" panose="020B0504020202020204" pitchFamily="34" charset="0"/>
            </a:endParaRPr>
          </a:p>
        </p:txBody>
      </p:sp>
    </p:spTree>
    <p:extLst>
      <p:ext uri="{BB962C8B-B14F-4D97-AF65-F5344CB8AC3E}">
        <p14:creationId xmlns:p14="http://schemas.microsoft.com/office/powerpoint/2010/main" val="399779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maprison (+comment)">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635593C4-A62D-1EC2-BD22-F42F4652E367}"/>
              </a:ext>
            </a:extLst>
          </p:cNvPr>
          <p:cNvSpPr/>
          <p:nvPr userDrawn="1"/>
        </p:nvSpPr>
        <p:spPr>
          <a:xfrm>
            <a:off x="6456362" y="1716872"/>
            <a:ext cx="5284037" cy="500494"/>
          </a:xfrm>
          <a:prstGeom prst="rect">
            <a:avLst/>
          </a:prstGeom>
          <a:solidFill>
            <a:srgbClr val="0855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31" name="Rectangle 30">
            <a:extLst>
              <a:ext uri="{FF2B5EF4-FFF2-40B4-BE49-F238E27FC236}">
                <a16:creationId xmlns:a16="http://schemas.microsoft.com/office/drawing/2014/main" id="{7C86664F-965D-29B3-CB96-3536B20E2B0E}"/>
              </a:ext>
            </a:extLst>
          </p:cNvPr>
          <p:cNvSpPr/>
          <p:nvPr userDrawn="1"/>
        </p:nvSpPr>
        <p:spPr>
          <a:xfrm>
            <a:off x="6456362" y="1716872"/>
            <a:ext cx="5284037" cy="500494"/>
          </a:xfrm>
          <a:prstGeom prst="rect">
            <a:avLst/>
          </a:prstGeom>
          <a:gradFill>
            <a:gsLst>
              <a:gs pos="32000">
                <a:srgbClr val="085574">
                  <a:alpha val="8563"/>
                </a:srgbClr>
              </a:gs>
              <a:gs pos="0">
                <a:srgbClr val="E37A76">
                  <a:alpha val="85143"/>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2">
            <a:extLst>
              <a:ext uri="{FF2B5EF4-FFF2-40B4-BE49-F238E27FC236}">
                <a16:creationId xmlns:a16="http://schemas.microsoft.com/office/drawing/2014/main" id="{31D32AE2-0ED1-431D-B954-87B5AB8EAA1F}"/>
              </a:ext>
            </a:extLst>
          </p:cNvPr>
          <p:cNvSpPr>
            <a:spLocks noGrp="1"/>
          </p:cNvSpPr>
          <p:nvPr>
            <p:ph type="body" idx="1"/>
          </p:nvPr>
        </p:nvSpPr>
        <p:spPr>
          <a:xfrm>
            <a:off x="451599" y="1716872"/>
            <a:ext cx="5284038" cy="503237"/>
          </a:xfrm>
          <a:prstGeom prst="rect">
            <a:avLst/>
          </a:prstGeom>
          <a:solidFill>
            <a:srgbClr val="0B5574"/>
          </a:solidFill>
          <a:ln>
            <a:noFill/>
          </a:ln>
        </p:spPr>
        <p:txBody>
          <a:bodyPr tIns="108000" anchor="ctr" anchorCtr="0">
            <a:noAutofit/>
          </a:bodyPr>
          <a:lstStyle>
            <a:lvl1pPr marL="0" indent="0" algn="ctr">
              <a:buNone/>
              <a:defRPr sz="1800" b="0" cap="all" baseline="0">
                <a:solidFill>
                  <a:schemeClr val="bg1"/>
                </a:solidFill>
                <a:latin typeface="Mylius Modern" panose="020B05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3" name="Content Placeholder 2">
            <a:extLst>
              <a:ext uri="{FF2B5EF4-FFF2-40B4-BE49-F238E27FC236}">
                <a16:creationId xmlns:a16="http://schemas.microsoft.com/office/drawing/2014/main" id="{CDF545E0-026F-4FB2-AC72-357C7C6199EE}"/>
              </a:ext>
            </a:extLst>
          </p:cNvPr>
          <p:cNvSpPr>
            <a:spLocks noGrp="1"/>
          </p:cNvSpPr>
          <p:nvPr>
            <p:ph idx="11" hasCustomPrompt="1"/>
          </p:nvPr>
        </p:nvSpPr>
        <p:spPr>
          <a:xfrm>
            <a:off x="451599" y="2220108"/>
            <a:ext cx="5284038" cy="3352555"/>
          </a:xfrm>
          <a:prstGeom prst="rect">
            <a:avLst/>
          </a:prstGeom>
        </p:spPr>
        <p:txBody>
          <a:bodyPr/>
          <a:lstStyle>
            <a:lvl1pPr marL="0" indent="0">
              <a:lnSpc>
                <a:spcPct val="100000"/>
              </a:lnSpc>
              <a:buNone/>
              <a:defRPr sz="1600" b="0">
                <a:solidFill>
                  <a:srgbClr val="0B5574"/>
                </a:solidFill>
                <a:latin typeface="Mylius Modern" panose="020B0504020202020204" pitchFamily="34" charset="0"/>
              </a:defRPr>
            </a:lvl1pPr>
            <a:lvl2pPr marL="7938" indent="0">
              <a:buNone/>
              <a:tabLst/>
              <a:defRPr sz="1400">
                <a:solidFill>
                  <a:srgbClr val="0B5574"/>
                </a:solidFill>
                <a:latin typeface="Mylius Modern" panose="020B0504020202020204" pitchFamily="34" charset="0"/>
              </a:defRPr>
            </a:lvl2pPr>
            <a:lvl3pPr marL="447675" indent="-188913">
              <a:tabLst/>
              <a:defRPr sz="1200">
                <a:solidFill>
                  <a:srgbClr val="0B5574"/>
                </a:solidFill>
                <a:latin typeface="Mylius Modern" panose="020B0504020202020204" pitchFamily="34" charset="0"/>
              </a:defRPr>
            </a:lvl3pPr>
            <a:lvl4pPr marL="715963" indent="-233363">
              <a:tabLst/>
              <a:defRPr sz="1100">
                <a:solidFill>
                  <a:srgbClr val="0B5574"/>
                </a:solidFill>
                <a:latin typeface="Mylius Modern" panose="020B0504020202020204" pitchFamily="34" charset="0"/>
              </a:defRPr>
            </a:lvl4pPr>
            <a:lvl5pPr marL="984250" indent="-233363">
              <a:tabLst/>
              <a:defRPr sz="1100">
                <a:solidFill>
                  <a:srgbClr val="0B5574"/>
                </a:solidFill>
                <a:latin typeface="Mylius Modern"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Content Placeholder 2">
            <a:extLst>
              <a:ext uri="{FF2B5EF4-FFF2-40B4-BE49-F238E27FC236}">
                <a16:creationId xmlns:a16="http://schemas.microsoft.com/office/drawing/2014/main" id="{7A080A28-A923-458C-90DD-26E268DD05D0}"/>
              </a:ext>
            </a:extLst>
          </p:cNvPr>
          <p:cNvSpPr>
            <a:spLocks noGrp="1"/>
          </p:cNvSpPr>
          <p:nvPr>
            <p:ph idx="12" hasCustomPrompt="1"/>
          </p:nvPr>
        </p:nvSpPr>
        <p:spPr>
          <a:xfrm>
            <a:off x="6456363" y="2220108"/>
            <a:ext cx="5284037" cy="3352555"/>
          </a:xfrm>
          <a:prstGeom prst="rect">
            <a:avLst/>
          </a:prstGeom>
        </p:spPr>
        <p:txBody>
          <a:bodyPr/>
          <a:lstStyle>
            <a:lvl1pPr marL="0" indent="0">
              <a:lnSpc>
                <a:spcPct val="100000"/>
              </a:lnSpc>
              <a:buNone/>
              <a:defRPr sz="1600" b="0">
                <a:solidFill>
                  <a:srgbClr val="0B5574"/>
                </a:solidFill>
                <a:latin typeface="Mylius Modern" panose="020B0504020202020204" pitchFamily="34" charset="0"/>
              </a:defRPr>
            </a:lvl1pPr>
            <a:lvl2pPr marL="7938" indent="0">
              <a:buNone/>
              <a:tabLst/>
              <a:defRPr sz="1400">
                <a:solidFill>
                  <a:srgbClr val="0B5574"/>
                </a:solidFill>
                <a:latin typeface="Mylius Modern" panose="020B0504020202020204" pitchFamily="34" charset="0"/>
              </a:defRPr>
            </a:lvl2pPr>
            <a:lvl3pPr marL="447675" indent="-188913">
              <a:tabLst/>
              <a:defRPr sz="1200">
                <a:solidFill>
                  <a:srgbClr val="0B5574"/>
                </a:solidFill>
                <a:latin typeface="Mylius Modern" panose="020B0504020202020204" pitchFamily="34" charset="0"/>
              </a:defRPr>
            </a:lvl3pPr>
            <a:lvl4pPr marL="715963" indent="-233363">
              <a:tabLst/>
              <a:defRPr sz="1100">
                <a:solidFill>
                  <a:srgbClr val="0B5574"/>
                </a:solidFill>
                <a:latin typeface="Mylius Modern" panose="020B0504020202020204" pitchFamily="34" charset="0"/>
              </a:defRPr>
            </a:lvl4pPr>
            <a:lvl5pPr marL="984250" indent="-233363">
              <a:tabLst/>
              <a:defRPr sz="1100">
                <a:solidFill>
                  <a:srgbClr val="0B5574"/>
                </a:solidFill>
                <a:latin typeface="Mylius Modern"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Box 4">
            <a:extLst>
              <a:ext uri="{FF2B5EF4-FFF2-40B4-BE49-F238E27FC236}">
                <a16:creationId xmlns:a16="http://schemas.microsoft.com/office/drawing/2014/main" id="{942AE70F-C7E0-F5E1-0C06-1C112E67CEC8}"/>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rgbClr val="E37A76"/>
                </a:solidFill>
                <a:latin typeface="Mylius Modern" panose="020B0504020202020204" pitchFamily="34" charset="0"/>
              </a:rPr>
              <a:t>INFORMATION FOR BRITISH AIRWAYS INTERNAL USE ONLY</a:t>
            </a:r>
          </a:p>
        </p:txBody>
      </p:sp>
      <p:sp>
        <p:nvSpPr>
          <p:cNvPr id="6" name="TextBox 5">
            <a:extLst>
              <a:ext uri="{FF2B5EF4-FFF2-40B4-BE49-F238E27FC236}">
                <a16:creationId xmlns:a16="http://schemas.microsoft.com/office/drawing/2014/main" id="{83F5BA89-F7D9-D599-2DAA-BCF841420238}"/>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rgbClr val="E37A76"/>
                </a:solidFill>
                <a:latin typeface="Mylius Modern" panose="020B0504020202020204" pitchFamily="34" charset="0"/>
              </a:rPr>
              <a:t>‹#›</a:t>
            </a:fld>
            <a:endParaRPr lang="en-US" sz="700" b="0" i="0" spc="0">
              <a:solidFill>
                <a:srgbClr val="E37A76"/>
              </a:solidFill>
              <a:latin typeface="Mylius Modern" panose="020B0504020202020204" pitchFamily="34" charset="0"/>
            </a:endParaRPr>
          </a:p>
        </p:txBody>
      </p:sp>
      <p:sp>
        <p:nvSpPr>
          <p:cNvPr id="8" name="Rectangle 7">
            <a:extLst>
              <a:ext uri="{FF2B5EF4-FFF2-40B4-BE49-F238E27FC236}">
                <a16:creationId xmlns:a16="http://schemas.microsoft.com/office/drawing/2014/main" id="{CBDD490B-DA44-A1E5-47D0-A65C1D5773ED}"/>
              </a:ext>
            </a:extLst>
          </p:cNvPr>
          <p:cNvSpPr/>
          <p:nvPr userDrawn="1"/>
        </p:nvSpPr>
        <p:spPr>
          <a:xfrm>
            <a:off x="0" y="5812971"/>
            <a:ext cx="12192000" cy="1045029"/>
          </a:xfrm>
          <a:prstGeom prst="rect">
            <a:avLst/>
          </a:prstGeom>
          <a:solidFill>
            <a:srgbClr val="0855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9" name="Rectangle 8">
            <a:extLst>
              <a:ext uri="{FF2B5EF4-FFF2-40B4-BE49-F238E27FC236}">
                <a16:creationId xmlns:a16="http://schemas.microsoft.com/office/drawing/2014/main" id="{1CBBA17C-6810-281E-03F7-1304A08D89D0}"/>
              </a:ext>
            </a:extLst>
          </p:cNvPr>
          <p:cNvSpPr/>
          <p:nvPr userDrawn="1"/>
        </p:nvSpPr>
        <p:spPr>
          <a:xfrm>
            <a:off x="0" y="5812971"/>
            <a:ext cx="12192000" cy="1045029"/>
          </a:xfrm>
          <a:prstGeom prst="rect">
            <a:avLst/>
          </a:prstGeom>
          <a:gradFill>
            <a:gsLst>
              <a:gs pos="32000">
                <a:srgbClr val="085574">
                  <a:alpha val="8563"/>
                </a:srgbClr>
              </a:gs>
              <a:gs pos="0">
                <a:srgbClr val="E37A76">
                  <a:alpha val="85143"/>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DE67BE2E-FC3E-4FDF-F072-C102983D48A4}"/>
              </a:ext>
            </a:extLst>
          </p:cNvPr>
          <p:cNvSpPr txBox="1"/>
          <p:nvPr userDrawn="1"/>
        </p:nvSpPr>
        <p:spPr>
          <a:xfrm>
            <a:off x="0" y="6606195"/>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
        <p:nvSpPr>
          <p:cNvPr id="35" name="Title 1">
            <a:extLst>
              <a:ext uri="{FF2B5EF4-FFF2-40B4-BE49-F238E27FC236}">
                <a16:creationId xmlns:a16="http://schemas.microsoft.com/office/drawing/2014/main" id="{0BDF64E0-426E-A2C6-2653-0AF2C86990D1}"/>
              </a:ext>
            </a:extLst>
          </p:cNvPr>
          <p:cNvSpPr>
            <a:spLocks noGrp="1"/>
          </p:cNvSpPr>
          <p:nvPr>
            <p:ph type="title" hasCustomPrompt="1"/>
          </p:nvPr>
        </p:nvSpPr>
        <p:spPr>
          <a:xfrm>
            <a:off x="343672" y="298938"/>
            <a:ext cx="9537746" cy="659423"/>
          </a:xfrm>
          <a:prstGeom prst="rect">
            <a:avLst/>
          </a:prstGeom>
        </p:spPr>
        <p:txBody>
          <a:bodyPr/>
          <a:lstStyle>
            <a:lvl1pPr>
              <a:defRPr sz="2000" spc="600">
                <a:solidFill>
                  <a:schemeClr val="bg1"/>
                </a:solidFill>
                <a:latin typeface="Mylius Modern" panose="020B0504020202020204" pitchFamily="34" charset="0"/>
              </a:defRPr>
            </a:lvl1pPr>
          </a:lstStyle>
          <a:p>
            <a:r>
              <a:rPr lang="en-GB"/>
              <a:t>CLICK TO EDIT MASTER TITLE STYLE</a:t>
            </a:r>
            <a:endParaRPr lang="en-US"/>
          </a:p>
        </p:txBody>
      </p:sp>
      <p:sp>
        <p:nvSpPr>
          <p:cNvPr id="36" name="Text Placeholder 2">
            <a:extLst>
              <a:ext uri="{FF2B5EF4-FFF2-40B4-BE49-F238E27FC236}">
                <a16:creationId xmlns:a16="http://schemas.microsoft.com/office/drawing/2014/main" id="{714BC636-4134-82AF-6B0E-DBD0D2AD724C}"/>
              </a:ext>
            </a:extLst>
          </p:cNvPr>
          <p:cNvSpPr>
            <a:spLocks noGrp="1"/>
          </p:cNvSpPr>
          <p:nvPr>
            <p:ph type="body" idx="13"/>
          </p:nvPr>
        </p:nvSpPr>
        <p:spPr>
          <a:xfrm>
            <a:off x="6456361" y="1728181"/>
            <a:ext cx="5284038" cy="503237"/>
          </a:xfrm>
          <a:prstGeom prst="rect">
            <a:avLst/>
          </a:prstGeom>
          <a:noFill/>
          <a:ln>
            <a:noFill/>
          </a:ln>
        </p:spPr>
        <p:txBody>
          <a:bodyPr tIns="108000" anchor="ctr" anchorCtr="0">
            <a:noAutofit/>
          </a:bodyPr>
          <a:lstStyle>
            <a:lvl1pPr marL="0" indent="0" algn="ctr">
              <a:buNone/>
              <a:defRPr sz="1800" b="0" cap="all" baseline="0">
                <a:solidFill>
                  <a:schemeClr val="bg1"/>
                </a:solidFill>
                <a:latin typeface="Mylius Modern" panose="020B05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6" name="Text Placeholder 15">
            <a:extLst>
              <a:ext uri="{FF2B5EF4-FFF2-40B4-BE49-F238E27FC236}">
                <a16:creationId xmlns:a16="http://schemas.microsoft.com/office/drawing/2014/main" id="{1B2E6F0D-56AB-5A45-332C-95C7F6374632}"/>
              </a:ext>
            </a:extLst>
          </p:cNvPr>
          <p:cNvSpPr>
            <a:spLocks noGrp="1"/>
          </p:cNvSpPr>
          <p:nvPr>
            <p:ph type="body" sz="quarter" idx="14"/>
          </p:nvPr>
        </p:nvSpPr>
        <p:spPr>
          <a:xfrm>
            <a:off x="0" y="5813425"/>
            <a:ext cx="12192000" cy="1041400"/>
          </a:xfrm>
          <a:prstGeom prst="rect">
            <a:avLst/>
          </a:prstGeom>
        </p:spPr>
        <p:txBody>
          <a:bodyPr anchor="ctr"/>
          <a:lstStyle>
            <a:lvl1pPr marL="0" indent="0" algn="ctr">
              <a:lnSpc>
                <a:spcPct val="100000"/>
              </a:lnSpc>
              <a:buNone/>
              <a:defRPr sz="2000">
                <a:solidFill>
                  <a:schemeClr val="bg1"/>
                </a:solidFill>
                <a:latin typeface="Mylius Modern" panose="020B0504020202020204" pitchFamily="34" charset="0"/>
              </a:defRPr>
            </a:lvl1pPr>
            <a:lvl2pPr algn="ctr">
              <a:defRPr>
                <a:solidFill>
                  <a:schemeClr val="bg1"/>
                </a:solidFill>
                <a:latin typeface="Mylius Modern" panose="020B0504020202020204" pitchFamily="34" charset="0"/>
              </a:defRPr>
            </a:lvl2pPr>
            <a:lvl3pPr algn="ctr">
              <a:defRPr>
                <a:solidFill>
                  <a:schemeClr val="bg1"/>
                </a:solidFill>
                <a:latin typeface="Mylius Modern" panose="020B0504020202020204" pitchFamily="34" charset="0"/>
              </a:defRPr>
            </a:lvl3pPr>
            <a:lvl4pPr algn="ctr">
              <a:defRPr>
                <a:solidFill>
                  <a:schemeClr val="bg1"/>
                </a:solidFill>
                <a:latin typeface="Mylius Modern" panose="020B0504020202020204" pitchFamily="34" charset="0"/>
              </a:defRPr>
            </a:lvl4pPr>
            <a:lvl5pPr algn="ctr">
              <a:defRPr>
                <a:solidFill>
                  <a:schemeClr val="bg1"/>
                </a:solidFill>
                <a:latin typeface="Mylius Modern" panose="020B0504020202020204" pitchFamily="34" charset="0"/>
              </a:defRPr>
            </a:lvl5pPr>
          </a:lstStyle>
          <a:p>
            <a:pPr lvl="0"/>
            <a:endParaRPr lang="en-GB"/>
          </a:p>
        </p:txBody>
      </p:sp>
    </p:spTree>
    <p:extLst>
      <p:ext uri="{BB962C8B-B14F-4D97-AF65-F5344CB8AC3E}">
        <p14:creationId xmlns:p14="http://schemas.microsoft.com/office/powerpoint/2010/main" val="31985417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tats Callout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0AC10CF-4C99-4C4E-B9B6-1F6F6FB7B72E}"/>
              </a:ext>
            </a:extLst>
          </p:cNvPr>
          <p:cNvSpPr>
            <a:spLocks noGrp="1"/>
          </p:cNvSpPr>
          <p:nvPr>
            <p:ph type="dt" sz="half" idx="10"/>
          </p:nvPr>
        </p:nvSpPr>
        <p:spPr>
          <a:xfrm>
            <a:off x="8592159" y="6622164"/>
            <a:ext cx="2741736" cy="107722"/>
          </a:xfrm>
          <a:prstGeom prst="rect">
            <a:avLst/>
          </a:prstGeom>
        </p:spPr>
        <p:txBody>
          <a:bodyPr vert="horz" wrap="square" lIns="0" tIns="0" rIns="0" bIns="0" rtlCol="0" anchor="ctr">
            <a:spAutoFit/>
          </a:bodyPr>
          <a:lstStyle>
            <a:defPPr>
              <a:defRPr lang="en-US"/>
            </a:defPPr>
            <a:lvl1pPr marL="0" algn="r" defTabSz="914400" rtl="0" eaLnBrk="1" latinLnBrk="0" hangingPunct="1">
              <a:defRPr lang="en-GB" sz="700" b="0" i="0" kern="1200" cap="all" spc="110" baseline="0" smtClean="0">
                <a:solidFill>
                  <a:srgbClr val="BEB3B2"/>
                </a:solidFill>
                <a:latin typeface="Mylius Modern" panose="020B05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5" name="Text Placeholder 13">
            <a:extLst>
              <a:ext uri="{FF2B5EF4-FFF2-40B4-BE49-F238E27FC236}">
                <a16:creationId xmlns:a16="http://schemas.microsoft.com/office/drawing/2014/main" id="{045F53DE-B9B9-4C67-AA38-B60A0726FF83}"/>
              </a:ext>
            </a:extLst>
          </p:cNvPr>
          <p:cNvSpPr>
            <a:spLocks noGrp="1"/>
          </p:cNvSpPr>
          <p:nvPr>
            <p:ph type="body" sz="quarter" idx="13" hasCustomPrompt="1"/>
          </p:nvPr>
        </p:nvSpPr>
        <p:spPr>
          <a:xfrm>
            <a:off x="5086422" y="1867403"/>
            <a:ext cx="1800000" cy="683649"/>
          </a:xfrm>
          <a:prstGeom prst="rect">
            <a:avLst/>
          </a:prstGeom>
        </p:spPr>
        <p:txBody>
          <a:bodyPr anchor="t">
            <a:noAutofit/>
          </a:bodyPr>
          <a:lstStyle>
            <a:lvl1pPr marL="0" indent="0">
              <a:buNone/>
              <a:defRPr sz="2800" b="0" spc="180" baseline="0">
                <a:solidFill>
                  <a:srgbClr val="E47874"/>
                </a:solidFill>
                <a:latin typeface="Mylius Modern Extra Light" panose="020B0204020202020204" pitchFamily="34" charset="0"/>
              </a:defRPr>
            </a:lvl1pPr>
          </a:lstStyle>
          <a:p>
            <a:pPr lvl="0"/>
            <a:r>
              <a:rPr lang="en-US"/>
              <a:t>##</a:t>
            </a:r>
            <a:endParaRPr lang="en-GB"/>
          </a:p>
        </p:txBody>
      </p:sp>
      <p:sp>
        <p:nvSpPr>
          <p:cNvPr id="6" name="Text Placeholder 13">
            <a:extLst>
              <a:ext uri="{FF2B5EF4-FFF2-40B4-BE49-F238E27FC236}">
                <a16:creationId xmlns:a16="http://schemas.microsoft.com/office/drawing/2014/main" id="{0D56DDE2-5668-48F6-A13E-FB5DC009E1A8}"/>
              </a:ext>
            </a:extLst>
          </p:cNvPr>
          <p:cNvSpPr>
            <a:spLocks noGrp="1"/>
          </p:cNvSpPr>
          <p:nvPr>
            <p:ph type="body" sz="quarter" idx="14" hasCustomPrompt="1"/>
          </p:nvPr>
        </p:nvSpPr>
        <p:spPr>
          <a:xfrm>
            <a:off x="7201734" y="1867403"/>
            <a:ext cx="1800000" cy="683649"/>
          </a:xfrm>
          <a:prstGeom prst="rect">
            <a:avLst/>
          </a:prstGeom>
        </p:spPr>
        <p:txBody>
          <a:bodyPr anchor="t">
            <a:noAutofit/>
          </a:bodyPr>
          <a:lstStyle>
            <a:lvl1pPr marL="0" indent="0">
              <a:buNone/>
              <a:defRPr sz="2800" b="0" spc="180" baseline="0">
                <a:solidFill>
                  <a:srgbClr val="E47874"/>
                </a:solidFill>
                <a:latin typeface="Mylius Modern Extra Light" panose="020B0204020202020204" pitchFamily="34" charset="0"/>
              </a:defRPr>
            </a:lvl1pPr>
          </a:lstStyle>
          <a:p>
            <a:pPr lvl="0"/>
            <a:r>
              <a:rPr lang="en-US"/>
              <a:t>##</a:t>
            </a:r>
            <a:endParaRPr lang="en-GB"/>
          </a:p>
        </p:txBody>
      </p:sp>
      <p:sp>
        <p:nvSpPr>
          <p:cNvPr id="7" name="Text Placeholder 13">
            <a:extLst>
              <a:ext uri="{FF2B5EF4-FFF2-40B4-BE49-F238E27FC236}">
                <a16:creationId xmlns:a16="http://schemas.microsoft.com/office/drawing/2014/main" id="{F82476D7-E351-48E2-ADB5-4784E7A7FFD3}"/>
              </a:ext>
            </a:extLst>
          </p:cNvPr>
          <p:cNvSpPr>
            <a:spLocks noGrp="1"/>
          </p:cNvSpPr>
          <p:nvPr>
            <p:ph type="body" sz="quarter" idx="15" hasCustomPrompt="1"/>
          </p:nvPr>
        </p:nvSpPr>
        <p:spPr>
          <a:xfrm>
            <a:off x="9317046" y="1867403"/>
            <a:ext cx="1800000" cy="683649"/>
          </a:xfrm>
          <a:prstGeom prst="rect">
            <a:avLst/>
          </a:prstGeom>
        </p:spPr>
        <p:txBody>
          <a:bodyPr anchor="t">
            <a:noAutofit/>
          </a:bodyPr>
          <a:lstStyle>
            <a:lvl1pPr marL="0" indent="0">
              <a:buNone/>
              <a:defRPr sz="2800" b="0" spc="180" baseline="0">
                <a:solidFill>
                  <a:srgbClr val="E47874"/>
                </a:solidFill>
                <a:latin typeface="Mylius Modern Extra Light" panose="020B0204020202020204" pitchFamily="34" charset="0"/>
              </a:defRPr>
            </a:lvl1pPr>
          </a:lstStyle>
          <a:p>
            <a:pPr lvl="0"/>
            <a:r>
              <a:rPr lang="en-US"/>
              <a:t>##</a:t>
            </a:r>
            <a:endParaRPr lang="en-GB"/>
          </a:p>
        </p:txBody>
      </p:sp>
      <p:sp>
        <p:nvSpPr>
          <p:cNvPr id="8" name="Text Placeholder 13">
            <a:extLst>
              <a:ext uri="{FF2B5EF4-FFF2-40B4-BE49-F238E27FC236}">
                <a16:creationId xmlns:a16="http://schemas.microsoft.com/office/drawing/2014/main" id="{33F84A88-F5F3-4922-AE8A-FBBFEA250F8D}"/>
              </a:ext>
            </a:extLst>
          </p:cNvPr>
          <p:cNvSpPr>
            <a:spLocks noGrp="1"/>
          </p:cNvSpPr>
          <p:nvPr>
            <p:ph type="body" sz="quarter" idx="16" hasCustomPrompt="1"/>
          </p:nvPr>
        </p:nvSpPr>
        <p:spPr>
          <a:xfrm>
            <a:off x="5086422" y="4158321"/>
            <a:ext cx="1800000" cy="683649"/>
          </a:xfrm>
          <a:prstGeom prst="rect">
            <a:avLst/>
          </a:prstGeom>
        </p:spPr>
        <p:txBody>
          <a:bodyPr anchor="t">
            <a:noAutofit/>
          </a:bodyPr>
          <a:lstStyle>
            <a:lvl1pPr marL="0" indent="0">
              <a:buNone/>
              <a:defRPr sz="2800" b="0" spc="180" baseline="0">
                <a:solidFill>
                  <a:srgbClr val="E47874"/>
                </a:solidFill>
                <a:latin typeface="Mylius Modern Extra Light" panose="020B0204020202020204" pitchFamily="34" charset="0"/>
              </a:defRPr>
            </a:lvl1pPr>
          </a:lstStyle>
          <a:p>
            <a:pPr lvl="0"/>
            <a:r>
              <a:rPr lang="en-US"/>
              <a:t>##</a:t>
            </a:r>
            <a:endParaRPr lang="en-GB"/>
          </a:p>
        </p:txBody>
      </p:sp>
      <p:sp>
        <p:nvSpPr>
          <p:cNvPr id="9" name="Text Placeholder 13">
            <a:extLst>
              <a:ext uri="{FF2B5EF4-FFF2-40B4-BE49-F238E27FC236}">
                <a16:creationId xmlns:a16="http://schemas.microsoft.com/office/drawing/2014/main" id="{953798D1-0054-48BD-BC17-C28FF908095B}"/>
              </a:ext>
            </a:extLst>
          </p:cNvPr>
          <p:cNvSpPr>
            <a:spLocks noGrp="1"/>
          </p:cNvSpPr>
          <p:nvPr>
            <p:ph type="body" sz="quarter" idx="17" hasCustomPrompt="1"/>
          </p:nvPr>
        </p:nvSpPr>
        <p:spPr>
          <a:xfrm>
            <a:off x="7201734" y="4158321"/>
            <a:ext cx="1800000" cy="683649"/>
          </a:xfrm>
          <a:prstGeom prst="rect">
            <a:avLst/>
          </a:prstGeom>
        </p:spPr>
        <p:txBody>
          <a:bodyPr anchor="t">
            <a:noAutofit/>
          </a:bodyPr>
          <a:lstStyle>
            <a:lvl1pPr marL="0" indent="0">
              <a:buNone/>
              <a:defRPr sz="2800" b="0" spc="180" baseline="0">
                <a:solidFill>
                  <a:srgbClr val="E47874"/>
                </a:solidFill>
                <a:latin typeface="Mylius Modern Extra Light" panose="020B0204020202020204" pitchFamily="34" charset="0"/>
              </a:defRPr>
            </a:lvl1pPr>
          </a:lstStyle>
          <a:p>
            <a:pPr lvl="0"/>
            <a:r>
              <a:rPr lang="en-US"/>
              <a:t>##</a:t>
            </a:r>
            <a:endParaRPr lang="en-GB"/>
          </a:p>
        </p:txBody>
      </p:sp>
      <p:sp>
        <p:nvSpPr>
          <p:cNvPr id="10" name="Text Placeholder 13">
            <a:extLst>
              <a:ext uri="{FF2B5EF4-FFF2-40B4-BE49-F238E27FC236}">
                <a16:creationId xmlns:a16="http://schemas.microsoft.com/office/drawing/2014/main" id="{FEAE8DF4-C7CD-45D6-B5FF-5BB8A36A1ACD}"/>
              </a:ext>
            </a:extLst>
          </p:cNvPr>
          <p:cNvSpPr>
            <a:spLocks noGrp="1"/>
          </p:cNvSpPr>
          <p:nvPr>
            <p:ph type="body" sz="quarter" idx="18" hasCustomPrompt="1"/>
          </p:nvPr>
        </p:nvSpPr>
        <p:spPr>
          <a:xfrm>
            <a:off x="9317046" y="4158321"/>
            <a:ext cx="1800000" cy="683649"/>
          </a:xfrm>
          <a:prstGeom prst="rect">
            <a:avLst/>
          </a:prstGeom>
        </p:spPr>
        <p:txBody>
          <a:bodyPr anchor="t">
            <a:noAutofit/>
          </a:bodyPr>
          <a:lstStyle>
            <a:lvl1pPr marL="0" indent="0">
              <a:buNone/>
              <a:defRPr sz="2800" b="0" spc="180" baseline="0">
                <a:solidFill>
                  <a:srgbClr val="E47874"/>
                </a:solidFill>
                <a:latin typeface="Mylius Modern Extra Light" panose="020B0204020202020204" pitchFamily="34" charset="0"/>
              </a:defRPr>
            </a:lvl1pPr>
          </a:lstStyle>
          <a:p>
            <a:pPr lvl="0"/>
            <a:r>
              <a:rPr lang="en-US"/>
              <a:t>##</a:t>
            </a:r>
            <a:endParaRPr lang="en-GB"/>
          </a:p>
        </p:txBody>
      </p:sp>
      <p:sp>
        <p:nvSpPr>
          <p:cNvPr id="11" name="Text Placeholder 20">
            <a:extLst>
              <a:ext uri="{FF2B5EF4-FFF2-40B4-BE49-F238E27FC236}">
                <a16:creationId xmlns:a16="http://schemas.microsoft.com/office/drawing/2014/main" id="{072AAFC1-0565-482E-A228-57AD9F3EC1D2}"/>
              </a:ext>
            </a:extLst>
          </p:cNvPr>
          <p:cNvSpPr>
            <a:spLocks noGrp="1"/>
          </p:cNvSpPr>
          <p:nvPr>
            <p:ph type="body" sz="quarter" idx="19" hasCustomPrompt="1"/>
          </p:nvPr>
        </p:nvSpPr>
        <p:spPr>
          <a:xfrm>
            <a:off x="5132890" y="2545890"/>
            <a:ext cx="1359349" cy="892175"/>
          </a:xfrm>
          <a:prstGeom prst="rect">
            <a:avLst/>
          </a:prstGeom>
        </p:spPr>
        <p:txBody>
          <a:bodyPr/>
          <a:lstStyle>
            <a:lvl1pPr marL="0" indent="0">
              <a:lnSpc>
                <a:spcPct val="100000"/>
              </a:lnSpc>
              <a:buNone/>
              <a:defRPr sz="1800" b="0" spc="-50" baseline="0">
                <a:solidFill>
                  <a:srgbClr val="0B5574"/>
                </a:solidFill>
                <a:latin typeface="Mylius Modern" panose="020B0504020202020204" pitchFamily="34" charset="0"/>
              </a:defRPr>
            </a:lvl1pPr>
          </a:lstStyle>
          <a:p>
            <a:pPr lvl="0"/>
            <a:r>
              <a:rPr lang="en-US"/>
              <a:t>Stat goes </a:t>
            </a:r>
            <a:br>
              <a:rPr lang="en-US"/>
            </a:br>
            <a:r>
              <a:rPr lang="en-US"/>
              <a:t>here</a:t>
            </a:r>
            <a:endParaRPr lang="en-GB"/>
          </a:p>
        </p:txBody>
      </p:sp>
      <p:sp>
        <p:nvSpPr>
          <p:cNvPr id="12" name="Text Placeholder 20">
            <a:extLst>
              <a:ext uri="{FF2B5EF4-FFF2-40B4-BE49-F238E27FC236}">
                <a16:creationId xmlns:a16="http://schemas.microsoft.com/office/drawing/2014/main" id="{4A8A4D32-532E-400E-A23E-22EDB8B9FA26}"/>
              </a:ext>
            </a:extLst>
          </p:cNvPr>
          <p:cNvSpPr>
            <a:spLocks noGrp="1"/>
          </p:cNvSpPr>
          <p:nvPr>
            <p:ph type="body" sz="quarter" idx="20" hasCustomPrompt="1"/>
          </p:nvPr>
        </p:nvSpPr>
        <p:spPr>
          <a:xfrm>
            <a:off x="7227161" y="2545890"/>
            <a:ext cx="1359349" cy="892175"/>
          </a:xfrm>
          <a:prstGeom prst="rect">
            <a:avLst/>
          </a:prstGeom>
        </p:spPr>
        <p:txBody>
          <a:bodyPr/>
          <a:lstStyle>
            <a:lvl1pPr marL="0" indent="0">
              <a:lnSpc>
                <a:spcPct val="100000"/>
              </a:lnSpc>
              <a:buNone/>
              <a:defRPr sz="1800" b="0" spc="-50" baseline="0">
                <a:solidFill>
                  <a:srgbClr val="0B5574"/>
                </a:solidFill>
                <a:latin typeface="Mylius Modern" panose="020B0504020202020204" pitchFamily="34" charset="0"/>
              </a:defRPr>
            </a:lvl1pPr>
          </a:lstStyle>
          <a:p>
            <a:pPr lvl="0"/>
            <a:r>
              <a:rPr lang="en-US"/>
              <a:t>Stat goes </a:t>
            </a:r>
            <a:br>
              <a:rPr lang="en-US"/>
            </a:br>
            <a:r>
              <a:rPr lang="en-US"/>
              <a:t>here</a:t>
            </a:r>
            <a:endParaRPr lang="en-GB"/>
          </a:p>
        </p:txBody>
      </p:sp>
      <p:sp>
        <p:nvSpPr>
          <p:cNvPr id="13" name="Text Placeholder 20">
            <a:extLst>
              <a:ext uri="{FF2B5EF4-FFF2-40B4-BE49-F238E27FC236}">
                <a16:creationId xmlns:a16="http://schemas.microsoft.com/office/drawing/2014/main" id="{7DE0B399-6780-49E0-8808-D5A893071EFA}"/>
              </a:ext>
            </a:extLst>
          </p:cNvPr>
          <p:cNvSpPr>
            <a:spLocks noGrp="1"/>
          </p:cNvSpPr>
          <p:nvPr>
            <p:ph type="body" sz="quarter" idx="21" hasCustomPrompt="1"/>
          </p:nvPr>
        </p:nvSpPr>
        <p:spPr>
          <a:xfrm>
            <a:off x="9321432" y="2545890"/>
            <a:ext cx="1359349" cy="892175"/>
          </a:xfrm>
          <a:prstGeom prst="rect">
            <a:avLst/>
          </a:prstGeom>
        </p:spPr>
        <p:txBody>
          <a:bodyPr/>
          <a:lstStyle>
            <a:lvl1pPr marL="0" indent="0">
              <a:lnSpc>
                <a:spcPct val="100000"/>
              </a:lnSpc>
              <a:buNone/>
              <a:defRPr sz="1800" b="0" spc="-50" baseline="0">
                <a:solidFill>
                  <a:srgbClr val="0B5574"/>
                </a:solidFill>
                <a:latin typeface="Mylius Modern" panose="020B0504020202020204" pitchFamily="34" charset="0"/>
              </a:defRPr>
            </a:lvl1pPr>
          </a:lstStyle>
          <a:p>
            <a:pPr lvl="0"/>
            <a:r>
              <a:rPr lang="en-US"/>
              <a:t>Stat goes </a:t>
            </a:r>
            <a:br>
              <a:rPr lang="en-US"/>
            </a:br>
            <a:r>
              <a:rPr lang="en-US"/>
              <a:t>here</a:t>
            </a:r>
            <a:endParaRPr lang="en-GB"/>
          </a:p>
        </p:txBody>
      </p:sp>
      <p:sp>
        <p:nvSpPr>
          <p:cNvPr id="14" name="Text Placeholder 20">
            <a:extLst>
              <a:ext uri="{FF2B5EF4-FFF2-40B4-BE49-F238E27FC236}">
                <a16:creationId xmlns:a16="http://schemas.microsoft.com/office/drawing/2014/main" id="{506B3A5C-7B3F-4BB6-BBF8-2FAA35D526A0}"/>
              </a:ext>
            </a:extLst>
          </p:cNvPr>
          <p:cNvSpPr>
            <a:spLocks noGrp="1"/>
          </p:cNvSpPr>
          <p:nvPr>
            <p:ph type="body" sz="quarter" idx="22" hasCustomPrompt="1"/>
          </p:nvPr>
        </p:nvSpPr>
        <p:spPr>
          <a:xfrm>
            <a:off x="5132890" y="4886377"/>
            <a:ext cx="1359349" cy="892175"/>
          </a:xfrm>
          <a:prstGeom prst="rect">
            <a:avLst/>
          </a:prstGeom>
        </p:spPr>
        <p:txBody>
          <a:bodyPr/>
          <a:lstStyle>
            <a:lvl1pPr marL="0" indent="0">
              <a:lnSpc>
                <a:spcPct val="100000"/>
              </a:lnSpc>
              <a:buNone/>
              <a:defRPr sz="1800" b="0" spc="-50" baseline="0">
                <a:solidFill>
                  <a:srgbClr val="0B5574"/>
                </a:solidFill>
                <a:latin typeface="Mylius Modern" panose="020B0504020202020204" pitchFamily="34" charset="0"/>
              </a:defRPr>
            </a:lvl1pPr>
          </a:lstStyle>
          <a:p>
            <a:pPr lvl="0"/>
            <a:r>
              <a:rPr lang="en-US"/>
              <a:t>Stat goes </a:t>
            </a:r>
            <a:br>
              <a:rPr lang="en-US"/>
            </a:br>
            <a:r>
              <a:rPr lang="en-US"/>
              <a:t>here</a:t>
            </a:r>
            <a:endParaRPr lang="en-GB"/>
          </a:p>
        </p:txBody>
      </p:sp>
      <p:sp>
        <p:nvSpPr>
          <p:cNvPr id="15" name="Text Placeholder 20">
            <a:extLst>
              <a:ext uri="{FF2B5EF4-FFF2-40B4-BE49-F238E27FC236}">
                <a16:creationId xmlns:a16="http://schemas.microsoft.com/office/drawing/2014/main" id="{8B607329-B387-4FB4-8EFB-4F3AB9E85C30}"/>
              </a:ext>
            </a:extLst>
          </p:cNvPr>
          <p:cNvSpPr>
            <a:spLocks noGrp="1"/>
          </p:cNvSpPr>
          <p:nvPr>
            <p:ph type="body" sz="quarter" idx="23" hasCustomPrompt="1"/>
          </p:nvPr>
        </p:nvSpPr>
        <p:spPr>
          <a:xfrm>
            <a:off x="7227161" y="4886377"/>
            <a:ext cx="1359349" cy="892175"/>
          </a:xfrm>
          <a:prstGeom prst="rect">
            <a:avLst/>
          </a:prstGeom>
        </p:spPr>
        <p:txBody>
          <a:bodyPr/>
          <a:lstStyle>
            <a:lvl1pPr marL="0" indent="0">
              <a:lnSpc>
                <a:spcPct val="100000"/>
              </a:lnSpc>
              <a:buNone/>
              <a:defRPr sz="1800" b="0" spc="-50" baseline="0">
                <a:solidFill>
                  <a:srgbClr val="0B5574"/>
                </a:solidFill>
                <a:latin typeface="Mylius Modern" panose="020B0504020202020204" pitchFamily="34" charset="0"/>
              </a:defRPr>
            </a:lvl1pPr>
          </a:lstStyle>
          <a:p>
            <a:pPr lvl="0"/>
            <a:r>
              <a:rPr lang="en-US"/>
              <a:t>Stat goes </a:t>
            </a:r>
            <a:br>
              <a:rPr lang="en-US"/>
            </a:br>
            <a:r>
              <a:rPr lang="en-US"/>
              <a:t>here</a:t>
            </a:r>
            <a:endParaRPr lang="en-GB"/>
          </a:p>
        </p:txBody>
      </p:sp>
      <p:sp>
        <p:nvSpPr>
          <p:cNvPr id="16" name="Text Placeholder 20">
            <a:extLst>
              <a:ext uri="{FF2B5EF4-FFF2-40B4-BE49-F238E27FC236}">
                <a16:creationId xmlns:a16="http://schemas.microsoft.com/office/drawing/2014/main" id="{5C383B84-BDA1-4140-B05A-CE2403A68C75}"/>
              </a:ext>
            </a:extLst>
          </p:cNvPr>
          <p:cNvSpPr>
            <a:spLocks noGrp="1"/>
          </p:cNvSpPr>
          <p:nvPr>
            <p:ph type="body" sz="quarter" idx="24" hasCustomPrompt="1"/>
          </p:nvPr>
        </p:nvSpPr>
        <p:spPr>
          <a:xfrm>
            <a:off x="9321432" y="4886377"/>
            <a:ext cx="1359349" cy="892175"/>
          </a:xfrm>
          <a:prstGeom prst="rect">
            <a:avLst/>
          </a:prstGeom>
        </p:spPr>
        <p:txBody>
          <a:bodyPr/>
          <a:lstStyle>
            <a:lvl1pPr marL="0" indent="0">
              <a:lnSpc>
                <a:spcPct val="100000"/>
              </a:lnSpc>
              <a:buNone/>
              <a:defRPr sz="1800" b="0" spc="-50" baseline="0">
                <a:solidFill>
                  <a:srgbClr val="0B5574"/>
                </a:solidFill>
                <a:latin typeface="Mylius Modern" panose="020B0504020202020204" pitchFamily="34" charset="0"/>
              </a:defRPr>
            </a:lvl1pPr>
          </a:lstStyle>
          <a:p>
            <a:pPr lvl="0"/>
            <a:r>
              <a:rPr lang="en-US"/>
              <a:t>Stat goes </a:t>
            </a:r>
            <a:br>
              <a:rPr lang="en-US"/>
            </a:br>
            <a:r>
              <a:rPr lang="en-US"/>
              <a:t>here</a:t>
            </a:r>
            <a:endParaRPr lang="en-GB"/>
          </a:p>
        </p:txBody>
      </p:sp>
      <p:sp>
        <p:nvSpPr>
          <p:cNvPr id="18" name="Title 1">
            <a:extLst>
              <a:ext uri="{FF2B5EF4-FFF2-40B4-BE49-F238E27FC236}">
                <a16:creationId xmlns:a16="http://schemas.microsoft.com/office/drawing/2014/main" id="{0B918FE0-FE1F-C774-8FF1-F8B0FDDEDFC6}"/>
              </a:ext>
            </a:extLst>
          </p:cNvPr>
          <p:cNvSpPr>
            <a:spLocks noGrp="1"/>
          </p:cNvSpPr>
          <p:nvPr>
            <p:ph type="title" hasCustomPrompt="1"/>
          </p:nvPr>
        </p:nvSpPr>
        <p:spPr>
          <a:xfrm>
            <a:off x="343672" y="298938"/>
            <a:ext cx="9537746" cy="659423"/>
          </a:xfrm>
          <a:prstGeom prst="rect">
            <a:avLst/>
          </a:prstGeom>
        </p:spPr>
        <p:txBody>
          <a:bodyPr/>
          <a:lstStyle>
            <a:lvl1pPr>
              <a:defRPr sz="2000" spc="600">
                <a:solidFill>
                  <a:schemeClr val="bg1"/>
                </a:solidFill>
                <a:latin typeface="Mylius Modern" panose="020B0504020202020204" pitchFamily="34" charset="0"/>
              </a:defRPr>
            </a:lvl1pPr>
          </a:lstStyle>
          <a:p>
            <a:r>
              <a:rPr lang="en-GB"/>
              <a:t>CLICK TO EDIT MASTER TITLE STYLE</a:t>
            </a:r>
            <a:endParaRPr lang="en-US"/>
          </a:p>
        </p:txBody>
      </p:sp>
      <p:sp>
        <p:nvSpPr>
          <p:cNvPr id="19" name="Content Placeholder 2">
            <a:extLst>
              <a:ext uri="{FF2B5EF4-FFF2-40B4-BE49-F238E27FC236}">
                <a16:creationId xmlns:a16="http://schemas.microsoft.com/office/drawing/2014/main" id="{D9BB8666-EB54-71A5-1DA2-6EC7EA9E7EDF}"/>
              </a:ext>
            </a:extLst>
          </p:cNvPr>
          <p:cNvSpPr>
            <a:spLocks noGrp="1"/>
          </p:cNvSpPr>
          <p:nvPr>
            <p:ph idx="1" hasCustomPrompt="1"/>
          </p:nvPr>
        </p:nvSpPr>
        <p:spPr>
          <a:xfrm>
            <a:off x="753923" y="1897242"/>
            <a:ext cx="3597577" cy="3955762"/>
          </a:xfrm>
          <a:prstGeom prst="rect">
            <a:avLst/>
          </a:prstGeom>
        </p:spPr>
        <p:txBody>
          <a:bodyPr/>
          <a:lstStyle>
            <a:lvl1pPr marL="0" indent="0">
              <a:lnSpc>
                <a:spcPct val="100000"/>
              </a:lnSpc>
              <a:buNone/>
              <a:defRPr sz="1600" b="1">
                <a:solidFill>
                  <a:srgbClr val="085574"/>
                </a:solidFill>
                <a:latin typeface="Mylius Modern" panose="020B0504020202020204" pitchFamily="34" charset="0"/>
              </a:defRPr>
            </a:lvl1pPr>
            <a:lvl2pPr marL="7938" indent="0">
              <a:buNone/>
              <a:tabLst/>
              <a:defRPr sz="1400">
                <a:solidFill>
                  <a:srgbClr val="085574"/>
                </a:solidFill>
                <a:latin typeface="Mylius Modern" panose="020B0504020202020204" pitchFamily="34" charset="0"/>
              </a:defRPr>
            </a:lvl2pPr>
            <a:lvl3pPr marL="447675" indent="-188913">
              <a:tabLst/>
              <a:defRPr sz="1200">
                <a:solidFill>
                  <a:srgbClr val="085574"/>
                </a:solidFill>
                <a:latin typeface="Mylius Modern" panose="020B0504020202020204" pitchFamily="34" charset="0"/>
              </a:defRPr>
            </a:lvl3pPr>
            <a:lvl4pPr marL="715963" indent="-233363">
              <a:tabLst/>
              <a:defRPr sz="1100">
                <a:solidFill>
                  <a:srgbClr val="085574"/>
                </a:solidFill>
                <a:latin typeface="Mylius Modern" panose="020B0504020202020204" pitchFamily="34" charset="0"/>
              </a:defRPr>
            </a:lvl4pPr>
            <a:lvl5pPr marL="984250" indent="-233363">
              <a:tabLst/>
              <a:defRPr sz="1100">
                <a:solidFill>
                  <a:srgbClr val="085574"/>
                </a:solidFill>
                <a:latin typeface="Mylius Modern"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0" name="TextBox 19">
            <a:extLst>
              <a:ext uri="{FF2B5EF4-FFF2-40B4-BE49-F238E27FC236}">
                <a16:creationId xmlns:a16="http://schemas.microsoft.com/office/drawing/2014/main" id="{EE6A61D8-9C71-7AA3-830D-3678E13B21CF}"/>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rgbClr val="E37A76"/>
                </a:solidFill>
                <a:latin typeface="Mylius Modern" panose="020B0504020202020204" pitchFamily="34" charset="0"/>
              </a:rPr>
              <a:t>INFORMATION FOR BRITISH AIRWAYS INTERNAL USE ONLY</a:t>
            </a:r>
          </a:p>
        </p:txBody>
      </p:sp>
    </p:spTree>
    <p:extLst>
      <p:ext uri="{BB962C8B-B14F-4D97-AF65-F5344CB8AC3E}">
        <p14:creationId xmlns:p14="http://schemas.microsoft.com/office/powerpoint/2010/main" val="20234423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eft Arrow">
    <p:spTree>
      <p:nvGrpSpPr>
        <p:cNvPr id="1" name=""/>
        <p:cNvGrpSpPr/>
        <p:nvPr/>
      </p:nvGrpSpPr>
      <p:grpSpPr>
        <a:xfrm>
          <a:off x="0" y="0"/>
          <a:ext cx="0" cy="0"/>
          <a:chOff x="0" y="0"/>
          <a:chExt cx="0" cy="0"/>
        </a:xfrm>
      </p:grpSpPr>
      <p:sp>
        <p:nvSpPr>
          <p:cNvPr id="13" name="Freeform 14">
            <a:extLst>
              <a:ext uri="{FF2B5EF4-FFF2-40B4-BE49-F238E27FC236}">
                <a16:creationId xmlns:a16="http://schemas.microsoft.com/office/drawing/2014/main" id="{E5DB078A-212D-2641-9878-3E3756E15547}"/>
              </a:ext>
            </a:extLst>
          </p:cNvPr>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85574"/>
          </a:solidFill>
          <a:ln w="12700" cap="flat" cmpd="sng" algn="ctr">
            <a:noFill/>
            <a:prstDash val="solid"/>
            <a:miter lim="800000"/>
          </a:ln>
          <a:effectLst/>
        </p:spPr>
        <p:txBody>
          <a:bodyPr wrap="square" rtlCol="0" anchor="t">
            <a:noAutofit/>
          </a:bodyPr>
          <a:lstStyle/>
          <a:p>
            <a:pPr marR="0" lvl="0" indent="0" fontAlgn="auto">
              <a:lnSpc>
                <a:spcPct val="90000"/>
              </a:lnSpc>
              <a:spcBef>
                <a:spcPts val="0"/>
              </a:spcBef>
              <a:spcAft>
                <a:spcPts val="1000"/>
              </a:spcAft>
              <a:buClrTx/>
              <a:buSzTx/>
              <a:buFontTx/>
              <a:buNone/>
              <a:tabLst/>
            </a:pPr>
            <a:endParaRPr kumimoji="0" lang="en-US" sz="1200" b="0" i="0" u="none" strike="noStrike" kern="0" cap="none" spc="0" normalizeH="0" baseline="0">
              <a:ln>
                <a:noFill/>
              </a:ln>
              <a:solidFill>
                <a:prstClr val="white"/>
              </a:solidFill>
              <a:effectLst/>
              <a:uLnTx/>
              <a:uFillTx/>
              <a:latin typeface="Mylius Modern"/>
              <a:sym typeface="Trebuchet MS" panose="020B0603020202020204" pitchFamily="34" charset="0"/>
            </a:endParaRPr>
          </a:p>
        </p:txBody>
      </p:sp>
      <p:sp>
        <p:nvSpPr>
          <p:cNvPr id="4" name="Title 1">
            <a:extLst>
              <a:ext uri="{FF2B5EF4-FFF2-40B4-BE49-F238E27FC236}">
                <a16:creationId xmlns:a16="http://schemas.microsoft.com/office/drawing/2014/main" id="{F33352CF-C483-624C-7BEB-483BD4E5EF20}"/>
              </a:ext>
            </a:extLst>
          </p:cNvPr>
          <p:cNvSpPr>
            <a:spLocks noGrp="1"/>
          </p:cNvSpPr>
          <p:nvPr>
            <p:ph type="title" hasCustomPrompt="1"/>
          </p:nvPr>
        </p:nvSpPr>
        <p:spPr>
          <a:xfrm>
            <a:off x="343672" y="298938"/>
            <a:ext cx="9537746" cy="659423"/>
          </a:xfrm>
          <a:prstGeom prst="rect">
            <a:avLst/>
          </a:prstGeom>
        </p:spPr>
        <p:txBody>
          <a:bodyPr/>
          <a:lstStyle>
            <a:lvl1pPr>
              <a:defRPr sz="2000" spc="600">
                <a:solidFill>
                  <a:schemeClr val="bg1"/>
                </a:solidFill>
                <a:latin typeface="Mylius Modern" panose="020B0504020202020204" pitchFamily="34" charset="0"/>
              </a:defRPr>
            </a:lvl1pPr>
          </a:lstStyle>
          <a:p>
            <a:r>
              <a:rPr lang="en-GB"/>
              <a:t>CLICK TO EDIT MASTER TITLE STYLE</a:t>
            </a:r>
            <a:endParaRPr lang="en-US"/>
          </a:p>
        </p:txBody>
      </p:sp>
      <p:sp>
        <p:nvSpPr>
          <p:cNvPr id="5" name="TextBox 4">
            <a:extLst>
              <a:ext uri="{FF2B5EF4-FFF2-40B4-BE49-F238E27FC236}">
                <a16:creationId xmlns:a16="http://schemas.microsoft.com/office/drawing/2014/main" id="{18DAC84A-3A4F-0DDA-D52B-B1798EDE08F7}"/>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Tree>
    <p:extLst>
      <p:ext uri="{BB962C8B-B14F-4D97-AF65-F5344CB8AC3E}">
        <p14:creationId xmlns:p14="http://schemas.microsoft.com/office/powerpoint/2010/main" val="20807857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eft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085574"/>
          </a:solidFill>
          <a:ln w="12700" cap="flat" cmpd="sng" algn="ctr">
            <a:noFill/>
            <a:prstDash val="solid"/>
            <a:miter lim="800000"/>
          </a:ln>
          <a:effectLst/>
        </p:spPr>
        <p:txBody>
          <a:bodyPr wrap="square" rtlCol="0" anchor="t">
            <a:noAutofit/>
          </a:bodyPr>
          <a:lstStyle/>
          <a:p>
            <a:pPr marR="0" lvl="0" indent="0" fontAlgn="auto">
              <a:lnSpc>
                <a:spcPct val="90000"/>
              </a:lnSpc>
              <a:spcBef>
                <a:spcPts val="0"/>
              </a:spcBef>
              <a:spcAft>
                <a:spcPts val="1000"/>
              </a:spcAft>
              <a:buClrTx/>
              <a:buSzTx/>
              <a:buFontTx/>
              <a:buNone/>
              <a:tabLst/>
            </a:pPr>
            <a:endParaRPr kumimoji="0" lang="en-US" sz="1200" b="0" i="0" u="none" strike="noStrike" kern="0" cap="none" spc="0" normalizeH="0" baseline="0">
              <a:ln>
                <a:noFill/>
              </a:ln>
              <a:solidFill>
                <a:prstClr val="white"/>
              </a:solidFill>
              <a:effectLst/>
              <a:uLnTx/>
              <a:uFillTx/>
              <a:latin typeface="Mylius Modern"/>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D5B7CF18-5816-7AF0-84CC-F819D2976708}"/>
              </a:ext>
            </a:extLst>
          </p:cNvPr>
          <p:cNvSpPr>
            <a:spLocks noGrp="1"/>
          </p:cNvSpPr>
          <p:nvPr>
            <p:ph type="title" hasCustomPrompt="1"/>
          </p:nvPr>
        </p:nvSpPr>
        <p:spPr>
          <a:xfrm>
            <a:off x="343672" y="298938"/>
            <a:ext cx="9537746" cy="659423"/>
          </a:xfrm>
          <a:prstGeom prst="rect">
            <a:avLst/>
          </a:prstGeom>
        </p:spPr>
        <p:txBody>
          <a:bodyPr/>
          <a:lstStyle>
            <a:lvl1pPr>
              <a:defRPr sz="2000" spc="600">
                <a:solidFill>
                  <a:schemeClr val="bg1"/>
                </a:solidFill>
                <a:latin typeface="Mylius Modern" panose="020B0504020202020204" pitchFamily="34" charset="0"/>
              </a:defRPr>
            </a:lvl1pPr>
          </a:lstStyle>
          <a:p>
            <a:r>
              <a:rPr lang="en-GB"/>
              <a:t>CLICK TO EDIT MASTER TITLE STYLE</a:t>
            </a:r>
            <a:endParaRPr lang="en-US"/>
          </a:p>
        </p:txBody>
      </p:sp>
      <p:sp>
        <p:nvSpPr>
          <p:cNvPr id="7" name="TextBox 6">
            <a:extLst>
              <a:ext uri="{FF2B5EF4-FFF2-40B4-BE49-F238E27FC236}">
                <a16:creationId xmlns:a16="http://schemas.microsoft.com/office/drawing/2014/main" id="{C2C2D6C7-CC16-A625-4601-7191AE67F502}"/>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Tree>
    <p:extLst>
      <p:ext uri="{BB962C8B-B14F-4D97-AF65-F5344CB8AC3E}">
        <p14:creationId xmlns:p14="http://schemas.microsoft.com/office/powerpoint/2010/main" val="16148693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eft 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085574"/>
          </a:solidFill>
          <a:ln w="12700" cap="flat" cmpd="sng" algn="ctr">
            <a:noFill/>
            <a:prstDash val="solid"/>
            <a:miter lim="800000"/>
          </a:ln>
          <a:effectLst/>
        </p:spPr>
        <p:txBody>
          <a:bodyPr wrap="square" rtlCol="0" anchor="t">
            <a:noAutofit/>
          </a:bodyPr>
          <a:lstStyle/>
          <a:p>
            <a:pPr marR="0" lvl="0" indent="0" fontAlgn="auto">
              <a:lnSpc>
                <a:spcPct val="90000"/>
              </a:lnSpc>
              <a:spcBef>
                <a:spcPts val="0"/>
              </a:spcBef>
              <a:spcAft>
                <a:spcPts val="1000"/>
              </a:spcAft>
              <a:buClrTx/>
              <a:buSzTx/>
              <a:buFontTx/>
              <a:buNone/>
              <a:tabLst/>
            </a:pPr>
            <a:endParaRPr kumimoji="0" lang="en-US" sz="1200" b="0" i="0" u="none" strike="noStrike" kern="0" cap="none" spc="0" normalizeH="0" baseline="0">
              <a:ln>
                <a:noFill/>
              </a:ln>
              <a:solidFill>
                <a:prstClr val="white"/>
              </a:solidFill>
              <a:effectLst/>
              <a:uLnTx/>
              <a:uFillTx/>
              <a:latin typeface="Mylius Modern"/>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4" name="Title 1">
            <a:extLst>
              <a:ext uri="{FF2B5EF4-FFF2-40B4-BE49-F238E27FC236}">
                <a16:creationId xmlns:a16="http://schemas.microsoft.com/office/drawing/2014/main" id="{9C050981-F420-0B0A-3621-F91F4EED1077}"/>
              </a:ext>
            </a:extLst>
          </p:cNvPr>
          <p:cNvSpPr>
            <a:spLocks noGrp="1"/>
          </p:cNvSpPr>
          <p:nvPr>
            <p:ph type="title" hasCustomPrompt="1"/>
          </p:nvPr>
        </p:nvSpPr>
        <p:spPr>
          <a:xfrm>
            <a:off x="343672" y="298938"/>
            <a:ext cx="9537746" cy="659423"/>
          </a:xfrm>
          <a:prstGeom prst="rect">
            <a:avLst/>
          </a:prstGeom>
        </p:spPr>
        <p:txBody>
          <a:bodyPr/>
          <a:lstStyle>
            <a:lvl1pPr>
              <a:defRPr sz="2000" spc="600">
                <a:solidFill>
                  <a:schemeClr val="bg1"/>
                </a:solidFill>
                <a:latin typeface="Mylius Modern" panose="020B0504020202020204" pitchFamily="34" charset="0"/>
              </a:defRPr>
            </a:lvl1pPr>
          </a:lstStyle>
          <a:p>
            <a:r>
              <a:rPr lang="en-GB"/>
              <a:t>CLICK TO EDIT MASTER TITLE STYLE</a:t>
            </a:r>
            <a:endParaRPr lang="en-US"/>
          </a:p>
        </p:txBody>
      </p:sp>
      <p:sp>
        <p:nvSpPr>
          <p:cNvPr id="6" name="TextBox 5">
            <a:extLst>
              <a:ext uri="{FF2B5EF4-FFF2-40B4-BE49-F238E27FC236}">
                <a16:creationId xmlns:a16="http://schemas.microsoft.com/office/drawing/2014/main" id="{672A2BB7-C32A-71B8-E721-01030616CEB8}"/>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Tree>
    <p:extLst>
      <p:ext uri="{BB962C8B-B14F-4D97-AF65-F5344CB8AC3E}">
        <p14:creationId xmlns:p14="http://schemas.microsoft.com/office/powerpoint/2010/main" val="191681453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eft 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085574"/>
          </a:solidFill>
          <a:ln w="12700" cap="flat" cmpd="sng" algn="ctr">
            <a:noFill/>
            <a:prstDash val="solid"/>
            <a:miter lim="800000"/>
          </a:ln>
          <a:effectLst/>
        </p:spPr>
        <p:txBody>
          <a:bodyPr wrap="square" rtlCol="0" anchor="t">
            <a:noAutofit/>
          </a:bodyPr>
          <a:lstStyle/>
          <a:p>
            <a:pPr marR="0" lvl="0" indent="0" fontAlgn="auto">
              <a:lnSpc>
                <a:spcPct val="90000"/>
              </a:lnSpc>
              <a:spcBef>
                <a:spcPts val="0"/>
              </a:spcBef>
              <a:spcAft>
                <a:spcPts val="1000"/>
              </a:spcAft>
              <a:buClrTx/>
              <a:buSzTx/>
              <a:buFontTx/>
              <a:buNone/>
              <a:tabLst/>
            </a:pPr>
            <a:endParaRPr kumimoji="0" lang="en-US" sz="1200" b="0" i="0" u="none" strike="noStrike" kern="0" cap="none" spc="0" normalizeH="0" baseline="0">
              <a:ln>
                <a:noFill/>
              </a:ln>
              <a:solidFill>
                <a:prstClr val="white"/>
              </a:solidFill>
              <a:effectLst/>
              <a:uLnTx/>
              <a:uFillTx/>
              <a:latin typeface="Mylius Modern"/>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4" name="Title 1">
            <a:extLst>
              <a:ext uri="{FF2B5EF4-FFF2-40B4-BE49-F238E27FC236}">
                <a16:creationId xmlns:a16="http://schemas.microsoft.com/office/drawing/2014/main" id="{BF88AA93-B791-529B-3D7E-9C7DA8E34EFD}"/>
              </a:ext>
            </a:extLst>
          </p:cNvPr>
          <p:cNvSpPr>
            <a:spLocks noGrp="1"/>
          </p:cNvSpPr>
          <p:nvPr>
            <p:ph type="title" hasCustomPrompt="1"/>
          </p:nvPr>
        </p:nvSpPr>
        <p:spPr>
          <a:xfrm>
            <a:off x="343672" y="298938"/>
            <a:ext cx="9537746" cy="659423"/>
          </a:xfrm>
          <a:prstGeom prst="rect">
            <a:avLst/>
          </a:prstGeom>
        </p:spPr>
        <p:txBody>
          <a:bodyPr/>
          <a:lstStyle>
            <a:lvl1pPr>
              <a:defRPr sz="2000" spc="600">
                <a:solidFill>
                  <a:schemeClr val="bg1"/>
                </a:solidFill>
                <a:latin typeface="Mylius Modern" panose="020B0504020202020204" pitchFamily="34" charset="0"/>
              </a:defRPr>
            </a:lvl1pPr>
          </a:lstStyle>
          <a:p>
            <a:r>
              <a:rPr lang="en-GB"/>
              <a:t>CLICK TO EDIT MASTER TITLE STYLE</a:t>
            </a:r>
            <a:endParaRPr lang="en-US"/>
          </a:p>
        </p:txBody>
      </p:sp>
      <p:sp>
        <p:nvSpPr>
          <p:cNvPr id="6" name="TextBox 5">
            <a:extLst>
              <a:ext uri="{FF2B5EF4-FFF2-40B4-BE49-F238E27FC236}">
                <a16:creationId xmlns:a16="http://schemas.microsoft.com/office/drawing/2014/main" id="{AC023D93-7D8D-068A-1744-F7EB4E275152}"/>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Tree>
    <p:extLst>
      <p:ext uri="{BB962C8B-B14F-4D97-AF65-F5344CB8AC3E}">
        <p14:creationId xmlns:p14="http://schemas.microsoft.com/office/powerpoint/2010/main" val="68377812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333BF5F-B85C-B9BD-CD07-46DC82061EA1}"/>
              </a:ext>
            </a:extLst>
          </p:cNvPr>
          <p:cNvPicPr>
            <a:picLocks noChangeAspect="1"/>
          </p:cNvPicPr>
          <p:nvPr userDrawn="1"/>
        </p:nvPicPr>
        <p:blipFill>
          <a:blip r:embed="rId2">
            <a:alphaModFix amt="21000"/>
          </a:blip>
          <a:stretch>
            <a:fillRect/>
          </a:stretch>
        </p:blipFill>
        <p:spPr>
          <a:xfrm>
            <a:off x="0" y="0"/>
            <a:ext cx="12192000" cy="6875188"/>
          </a:xfrm>
          <a:prstGeom prst="rect">
            <a:avLst/>
          </a:prstGeom>
        </p:spPr>
      </p:pic>
      <p:pic>
        <p:nvPicPr>
          <p:cNvPr id="12" name="Picture 11" descr="Shape, rectangle&#10;&#10;Description automatically generated">
            <a:extLst>
              <a:ext uri="{FF2B5EF4-FFF2-40B4-BE49-F238E27FC236}">
                <a16:creationId xmlns:a16="http://schemas.microsoft.com/office/drawing/2014/main" id="{15350861-E692-8CF1-756E-27A18EFFC8D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sp>
        <p:nvSpPr>
          <p:cNvPr id="2" name="Title 1">
            <a:extLst>
              <a:ext uri="{FF2B5EF4-FFF2-40B4-BE49-F238E27FC236}">
                <a16:creationId xmlns:a16="http://schemas.microsoft.com/office/drawing/2014/main" id="{DE90CDB1-23E8-FECF-8C5F-E9EB47BC14D3}"/>
              </a:ext>
            </a:extLst>
          </p:cNvPr>
          <p:cNvSpPr>
            <a:spLocks noGrp="1"/>
          </p:cNvSpPr>
          <p:nvPr>
            <p:ph type="ctrTitle" hasCustomPrompt="1"/>
          </p:nvPr>
        </p:nvSpPr>
        <p:spPr>
          <a:xfrm>
            <a:off x="371475" y="2619351"/>
            <a:ext cx="5407269" cy="2387600"/>
          </a:xfrm>
          <a:prstGeom prst="rect">
            <a:avLst/>
          </a:prstGeom>
        </p:spPr>
        <p:txBody>
          <a:bodyPr anchor="ctr">
            <a:normAutofit/>
          </a:bodyPr>
          <a:lstStyle>
            <a:lvl1pPr algn="l">
              <a:defRPr sz="4800" b="1" i="0" spc="600">
                <a:ln w="22225">
                  <a:noFill/>
                </a:ln>
                <a:solidFill>
                  <a:schemeClr val="bg1"/>
                </a:solidFill>
                <a:latin typeface="Mylius Modern" panose="020B0504020202020204" pitchFamily="34" charset="0"/>
              </a:defRPr>
            </a:lvl1pPr>
          </a:lstStyle>
          <a:p>
            <a:r>
              <a:rPr lang="en-GB"/>
              <a:t>SECTION HEADING</a:t>
            </a:r>
            <a:endParaRPr lang="en-US"/>
          </a:p>
        </p:txBody>
      </p:sp>
      <p:sp>
        <p:nvSpPr>
          <p:cNvPr id="3" name="Subtitle 2">
            <a:extLst>
              <a:ext uri="{FF2B5EF4-FFF2-40B4-BE49-F238E27FC236}">
                <a16:creationId xmlns:a16="http://schemas.microsoft.com/office/drawing/2014/main" id="{90B7B0E9-12AB-A31E-C338-7476BFAFB625}"/>
              </a:ext>
            </a:extLst>
          </p:cNvPr>
          <p:cNvSpPr>
            <a:spLocks noGrp="1"/>
          </p:cNvSpPr>
          <p:nvPr>
            <p:ph type="subTitle" idx="1" hasCustomPrompt="1"/>
          </p:nvPr>
        </p:nvSpPr>
        <p:spPr>
          <a:xfrm>
            <a:off x="371475" y="5627077"/>
            <a:ext cx="5852747" cy="508028"/>
          </a:xfrm>
          <a:prstGeom prst="rect">
            <a:avLst/>
          </a:prstGeom>
        </p:spPr>
        <p:txBody>
          <a:bodyPr anchor="ctr">
            <a:normAutofit/>
          </a:bodyPr>
          <a:lstStyle>
            <a:lvl1pPr marL="0" indent="0" algn="l">
              <a:buNone/>
              <a:defRPr sz="1600" spc="300">
                <a:solidFill>
                  <a:schemeClr val="bg1"/>
                </a:solidFill>
                <a:latin typeface="Mylius Modern" panose="020B05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TextBox 3">
            <a:extLst>
              <a:ext uri="{FF2B5EF4-FFF2-40B4-BE49-F238E27FC236}">
                <a16:creationId xmlns:a16="http://schemas.microsoft.com/office/drawing/2014/main" id="{A0FD07A8-411C-DF34-BA4D-68464EA5B54B}"/>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
        <p:nvSpPr>
          <p:cNvPr id="7" name="TextBox 6">
            <a:extLst>
              <a:ext uri="{FF2B5EF4-FFF2-40B4-BE49-F238E27FC236}">
                <a16:creationId xmlns:a16="http://schemas.microsoft.com/office/drawing/2014/main" id="{DB098A88-1CAF-C159-6A24-8613763FB385}"/>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chemeClr val="bg1"/>
                </a:solidFill>
                <a:latin typeface="Mylius Modern" panose="020B0504020202020204" pitchFamily="34" charset="0"/>
              </a:rPr>
              <a:t>‹#›</a:t>
            </a:fld>
            <a:endParaRPr lang="en-US" sz="700" b="0" i="0" spc="0">
              <a:solidFill>
                <a:schemeClr val="bg1"/>
              </a:solidFill>
              <a:latin typeface="Mylius Modern" panose="020B0504020202020204" pitchFamily="34" charset="0"/>
            </a:endParaRPr>
          </a:p>
        </p:txBody>
      </p:sp>
      <p:pic>
        <p:nvPicPr>
          <p:cNvPr id="6" name="Picture 5">
            <a:extLst>
              <a:ext uri="{FF2B5EF4-FFF2-40B4-BE49-F238E27FC236}">
                <a16:creationId xmlns:a16="http://schemas.microsoft.com/office/drawing/2014/main" id="{2B25E28D-FD4D-AB2D-920E-51BF83AFED57}"/>
              </a:ext>
            </a:extLst>
          </p:cNvPr>
          <p:cNvPicPr>
            <a:picLocks noChangeAspect="1"/>
          </p:cNvPicPr>
          <p:nvPr userDrawn="1"/>
        </p:nvPicPr>
        <p:blipFill>
          <a:blip r:embed="rId4"/>
          <a:stretch>
            <a:fillRect/>
          </a:stretch>
        </p:blipFill>
        <p:spPr>
          <a:xfrm>
            <a:off x="10066300" y="298137"/>
            <a:ext cx="491744" cy="476377"/>
          </a:xfrm>
          <a:prstGeom prst="rect">
            <a:avLst/>
          </a:prstGeom>
        </p:spPr>
      </p:pic>
    </p:spTree>
    <p:extLst>
      <p:ext uri="{BB962C8B-B14F-4D97-AF65-F5344CB8AC3E}">
        <p14:creationId xmlns:p14="http://schemas.microsoft.com/office/powerpoint/2010/main" val="17921853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pic>
        <p:nvPicPr>
          <p:cNvPr id="6" name="Picture 5" descr="A person in a suit and tie&#10;&#10;Description automatically generated with low confidence">
            <a:extLst>
              <a:ext uri="{FF2B5EF4-FFF2-40B4-BE49-F238E27FC236}">
                <a16:creationId xmlns:a16="http://schemas.microsoft.com/office/drawing/2014/main" id="{9BC8168B-8FFF-C6DE-2A20-1413F62AC644}"/>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2" name="Picture 11" descr="Shape, rectangle&#10;&#10;Description automatically generated">
            <a:extLst>
              <a:ext uri="{FF2B5EF4-FFF2-40B4-BE49-F238E27FC236}">
                <a16:creationId xmlns:a16="http://schemas.microsoft.com/office/drawing/2014/main" id="{15350861-E692-8CF1-756E-27A18EFFC8D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sp>
        <p:nvSpPr>
          <p:cNvPr id="2" name="Title 1">
            <a:extLst>
              <a:ext uri="{FF2B5EF4-FFF2-40B4-BE49-F238E27FC236}">
                <a16:creationId xmlns:a16="http://schemas.microsoft.com/office/drawing/2014/main" id="{DE90CDB1-23E8-FECF-8C5F-E9EB47BC14D3}"/>
              </a:ext>
            </a:extLst>
          </p:cNvPr>
          <p:cNvSpPr>
            <a:spLocks noGrp="1"/>
          </p:cNvSpPr>
          <p:nvPr>
            <p:ph type="ctrTitle" hasCustomPrompt="1"/>
          </p:nvPr>
        </p:nvSpPr>
        <p:spPr>
          <a:xfrm>
            <a:off x="371475" y="2619351"/>
            <a:ext cx="5407269" cy="2387600"/>
          </a:xfrm>
          <a:prstGeom prst="rect">
            <a:avLst/>
          </a:prstGeom>
        </p:spPr>
        <p:txBody>
          <a:bodyPr anchor="ctr">
            <a:normAutofit/>
          </a:bodyPr>
          <a:lstStyle>
            <a:lvl1pPr algn="l">
              <a:defRPr sz="4800" b="1" i="0" spc="600">
                <a:ln w="22225">
                  <a:noFill/>
                </a:ln>
                <a:solidFill>
                  <a:schemeClr val="bg1"/>
                </a:solidFill>
                <a:latin typeface="Mylius Modern" panose="020B0504020202020204" pitchFamily="34" charset="0"/>
              </a:defRPr>
            </a:lvl1pPr>
          </a:lstStyle>
          <a:p>
            <a:r>
              <a:rPr lang="en-GB"/>
              <a:t>SECTION HEADING</a:t>
            </a:r>
            <a:endParaRPr lang="en-US"/>
          </a:p>
        </p:txBody>
      </p:sp>
      <p:sp>
        <p:nvSpPr>
          <p:cNvPr id="3" name="Subtitle 2">
            <a:extLst>
              <a:ext uri="{FF2B5EF4-FFF2-40B4-BE49-F238E27FC236}">
                <a16:creationId xmlns:a16="http://schemas.microsoft.com/office/drawing/2014/main" id="{90B7B0E9-12AB-A31E-C338-7476BFAFB625}"/>
              </a:ext>
            </a:extLst>
          </p:cNvPr>
          <p:cNvSpPr>
            <a:spLocks noGrp="1"/>
          </p:cNvSpPr>
          <p:nvPr>
            <p:ph type="subTitle" idx="1" hasCustomPrompt="1"/>
          </p:nvPr>
        </p:nvSpPr>
        <p:spPr>
          <a:xfrm>
            <a:off x="371475" y="5627077"/>
            <a:ext cx="5852747" cy="508028"/>
          </a:xfrm>
          <a:prstGeom prst="rect">
            <a:avLst/>
          </a:prstGeom>
        </p:spPr>
        <p:txBody>
          <a:bodyPr anchor="ctr">
            <a:normAutofit/>
          </a:bodyPr>
          <a:lstStyle>
            <a:lvl1pPr marL="0" indent="0" algn="l">
              <a:buNone/>
              <a:defRPr sz="1600" spc="300">
                <a:solidFill>
                  <a:schemeClr val="bg1"/>
                </a:solidFill>
                <a:latin typeface="Mylius Modern" panose="020B05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TextBox 3">
            <a:extLst>
              <a:ext uri="{FF2B5EF4-FFF2-40B4-BE49-F238E27FC236}">
                <a16:creationId xmlns:a16="http://schemas.microsoft.com/office/drawing/2014/main" id="{A0FD07A8-411C-DF34-BA4D-68464EA5B54B}"/>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
        <p:nvSpPr>
          <p:cNvPr id="7" name="TextBox 6">
            <a:extLst>
              <a:ext uri="{FF2B5EF4-FFF2-40B4-BE49-F238E27FC236}">
                <a16:creationId xmlns:a16="http://schemas.microsoft.com/office/drawing/2014/main" id="{DB098A88-1CAF-C159-6A24-8613763FB385}"/>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chemeClr val="bg1"/>
                </a:solidFill>
                <a:latin typeface="Mylius Modern" panose="020B0504020202020204" pitchFamily="34" charset="0"/>
              </a:rPr>
              <a:t>‹#›</a:t>
            </a:fld>
            <a:endParaRPr lang="en-US" sz="700" b="0" i="0" spc="0">
              <a:solidFill>
                <a:schemeClr val="bg1"/>
              </a:solidFill>
              <a:latin typeface="Mylius Modern" panose="020B0504020202020204" pitchFamily="34" charset="0"/>
            </a:endParaRPr>
          </a:p>
        </p:txBody>
      </p:sp>
      <p:pic>
        <p:nvPicPr>
          <p:cNvPr id="5" name="Picture 4">
            <a:extLst>
              <a:ext uri="{FF2B5EF4-FFF2-40B4-BE49-F238E27FC236}">
                <a16:creationId xmlns:a16="http://schemas.microsoft.com/office/drawing/2014/main" id="{2B41BA76-4546-88CA-E7ED-2DDCD6C2A247}"/>
              </a:ext>
            </a:extLst>
          </p:cNvPr>
          <p:cNvPicPr>
            <a:picLocks noChangeAspect="1"/>
          </p:cNvPicPr>
          <p:nvPr userDrawn="1"/>
        </p:nvPicPr>
        <p:blipFill>
          <a:blip r:embed="rId4"/>
          <a:stretch>
            <a:fillRect/>
          </a:stretch>
        </p:blipFill>
        <p:spPr>
          <a:xfrm>
            <a:off x="10066300" y="298137"/>
            <a:ext cx="491744" cy="476377"/>
          </a:xfrm>
          <a:prstGeom prst="rect">
            <a:avLst/>
          </a:prstGeom>
        </p:spPr>
      </p:pic>
    </p:spTree>
    <p:extLst>
      <p:ext uri="{BB962C8B-B14F-4D97-AF65-F5344CB8AC3E}">
        <p14:creationId xmlns:p14="http://schemas.microsoft.com/office/powerpoint/2010/main" val="31974240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pic>
        <p:nvPicPr>
          <p:cNvPr id="8" name="Picture 7" descr="A person in a suit and tie&#10;&#10;Description automatically generated with low confidence">
            <a:extLst>
              <a:ext uri="{FF2B5EF4-FFF2-40B4-BE49-F238E27FC236}">
                <a16:creationId xmlns:a16="http://schemas.microsoft.com/office/drawing/2014/main" id="{F5B38768-471A-B4E1-6FD8-3FD0E15A34A3}"/>
              </a:ext>
            </a:extLst>
          </p:cNvPr>
          <p:cNvPicPr>
            <a:picLocks noChangeAspect="1"/>
          </p:cNvPicPr>
          <p:nvPr userDrawn="1"/>
        </p:nvPicPr>
        <p:blipFill rotWithShape="1">
          <a:blip r:embed="rId2" cstate="screen">
            <a:alphaModFix amt="14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2" name="Picture 11" descr="Shape, rectangle&#10;&#10;Description automatically generated">
            <a:extLst>
              <a:ext uri="{FF2B5EF4-FFF2-40B4-BE49-F238E27FC236}">
                <a16:creationId xmlns:a16="http://schemas.microsoft.com/office/drawing/2014/main" id="{15350861-E692-8CF1-756E-27A18EFFC8D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sp>
        <p:nvSpPr>
          <p:cNvPr id="2" name="Title 1">
            <a:extLst>
              <a:ext uri="{FF2B5EF4-FFF2-40B4-BE49-F238E27FC236}">
                <a16:creationId xmlns:a16="http://schemas.microsoft.com/office/drawing/2014/main" id="{DE90CDB1-23E8-FECF-8C5F-E9EB47BC14D3}"/>
              </a:ext>
            </a:extLst>
          </p:cNvPr>
          <p:cNvSpPr>
            <a:spLocks noGrp="1"/>
          </p:cNvSpPr>
          <p:nvPr>
            <p:ph type="ctrTitle" hasCustomPrompt="1"/>
          </p:nvPr>
        </p:nvSpPr>
        <p:spPr>
          <a:xfrm>
            <a:off x="371475" y="2619351"/>
            <a:ext cx="5407269" cy="2387600"/>
          </a:xfrm>
          <a:prstGeom prst="rect">
            <a:avLst/>
          </a:prstGeom>
        </p:spPr>
        <p:txBody>
          <a:bodyPr anchor="ctr">
            <a:normAutofit/>
          </a:bodyPr>
          <a:lstStyle>
            <a:lvl1pPr algn="l">
              <a:defRPr sz="4800" b="1" i="0" spc="600">
                <a:ln w="22225">
                  <a:noFill/>
                </a:ln>
                <a:solidFill>
                  <a:schemeClr val="bg1"/>
                </a:solidFill>
                <a:latin typeface="Mylius Modern" panose="020B0504020202020204" pitchFamily="34" charset="0"/>
              </a:defRPr>
            </a:lvl1pPr>
          </a:lstStyle>
          <a:p>
            <a:r>
              <a:rPr lang="en-GB"/>
              <a:t>SECTION HEADING</a:t>
            </a:r>
            <a:endParaRPr lang="en-US"/>
          </a:p>
        </p:txBody>
      </p:sp>
      <p:sp>
        <p:nvSpPr>
          <p:cNvPr id="3" name="Subtitle 2">
            <a:extLst>
              <a:ext uri="{FF2B5EF4-FFF2-40B4-BE49-F238E27FC236}">
                <a16:creationId xmlns:a16="http://schemas.microsoft.com/office/drawing/2014/main" id="{90B7B0E9-12AB-A31E-C338-7476BFAFB625}"/>
              </a:ext>
            </a:extLst>
          </p:cNvPr>
          <p:cNvSpPr>
            <a:spLocks noGrp="1"/>
          </p:cNvSpPr>
          <p:nvPr>
            <p:ph type="subTitle" idx="1" hasCustomPrompt="1"/>
          </p:nvPr>
        </p:nvSpPr>
        <p:spPr>
          <a:xfrm>
            <a:off x="371475" y="5627077"/>
            <a:ext cx="5852747" cy="508028"/>
          </a:xfrm>
          <a:prstGeom prst="rect">
            <a:avLst/>
          </a:prstGeom>
        </p:spPr>
        <p:txBody>
          <a:bodyPr anchor="ctr">
            <a:normAutofit/>
          </a:bodyPr>
          <a:lstStyle>
            <a:lvl1pPr marL="0" indent="0" algn="l">
              <a:buNone/>
              <a:defRPr sz="1600" spc="300">
                <a:solidFill>
                  <a:schemeClr val="bg1"/>
                </a:solidFill>
                <a:latin typeface="Mylius Modern" panose="020B05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TextBox 3">
            <a:extLst>
              <a:ext uri="{FF2B5EF4-FFF2-40B4-BE49-F238E27FC236}">
                <a16:creationId xmlns:a16="http://schemas.microsoft.com/office/drawing/2014/main" id="{A0FD07A8-411C-DF34-BA4D-68464EA5B54B}"/>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
        <p:nvSpPr>
          <p:cNvPr id="7" name="TextBox 6">
            <a:extLst>
              <a:ext uri="{FF2B5EF4-FFF2-40B4-BE49-F238E27FC236}">
                <a16:creationId xmlns:a16="http://schemas.microsoft.com/office/drawing/2014/main" id="{DB098A88-1CAF-C159-6A24-8613763FB385}"/>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chemeClr val="bg1"/>
                </a:solidFill>
                <a:latin typeface="Mylius Modern" panose="020B0504020202020204" pitchFamily="34" charset="0"/>
              </a:rPr>
              <a:t>‹#›</a:t>
            </a:fld>
            <a:endParaRPr lang="en-US" sz="700" b="0" i="0" spc="0">
              <a:solidFill>
                <a:schemeClr val="bg1"/>
              </a:solidFill>
              <a:latin typeface="Mylius Modern" panose="020B0504020202020204" pitchFamily="34" charset="0"/>
            </a:endParaRPr>
          </a:p>
        </p:txBody>
      </p:sp>
    </p:spTree>
    <p:extLst>
      <p:ext uri="{BB962C8B-B14F-4D97-AF65-F5344CB8AC3E}">
        <p14:creationId xmlns:p14="http://schemas.microsoft.com/office/powerpoint/2010/main" val="22546869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pic>
        <p:nvPicPr>
          <p:cNvPr id="8" name="Picture 7" descr="A person wearing a yellow vest&#10;&#10;Description automatically generated with low confidence">
            <a:extLst>
              <a:ext uri="{FF2B5EF4-FFF2-40B4-BE49-F238E27FC236}">
                <a16:creationId xmlns:a16="http://schemas.microsoft.com/office/drawing/2014/main" id="{3A524BB3-9A48-A84E-AA48-4981AAFD7DA3}"/>
              </a:ext>
            </a:extLst>
          </p:cNvPr>
          <p:cNvPicPr>
            <a:picLocks noChangeAspect="1"/>
          </p:cNvPicPr>
          <p:nvPr userDrawn="1"/>
        </p:nvPicPr>
        <p:blipFill rotWithShape="1">
          <a:blip r:embed="rId2" cstate="screen">
            <a:alphaModFix amt="25000"/>
            <a:extLst>
              <a:ext uri="{28A0092B-C50C-407E-A947-70E740481C1C}">
                <a14:useLocalDpi xmlns:a14="http://schemas.microsoft.com/office/drawing/2010/main"/>
              </a:ext>
            </a:extLst>
          </a:blip>
          <a:srcRect/>
          <a:stretch/>
        </p:blipFill>
        <p:spPr>
          <a:xfrm>
            <a:off x="0" y="0"/>
            <a:ext cx="12192000" cy="6855257"/>
          </a:xfrm>
          <a:prstGeom prst="rect">
            <a:avLst/>
          </a:prstGeom>
        </p:spPr>
      </p:pic>
      <p:pic>
        <p:nvPicPr>
          <p:cNvPr id="12" name="Picture 11" descr="Shape, rectangle&#10;&#10;Description automatically generated">
            <a:extLst>
              <a:ext uri="{FF2B5EF4-FFF2-40B4-BE49-F238E27FC236}">
                <a16:creationId xmlns:a16="http://schemas.microsoft.com/office/drawing/2014/main" id="{15350861-E692-8CF1-756E-27A18EFFC8D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sp>
        <p:nvSpPr>
          <p:cNvPr id="2" name="Title 1">
            <a:extLst>
              <a:ext uri="{FF2B5EF4-FFF2-40B4-BE49-F238E27FC236}">
                <a16:creationId xmlns:a16="http://schemas.microsoft.com/office/drawing/2014/main" id="{DE90CDB1-23E8-FECF-8C5F-E9EB47BC14D3}"/>
              </a:ext>
            </a:extLst>
          </p:cNvPr>
          <p:cNvSpPr>
            <a:spLocks noGrp="1"/>
          </p:cNvSpPr>
          <p:nvPr>
            <p:ph type="ctrTitle" hasCustomPrompt="1"/>
          </p:nvPr>
        </p:nvSpPr>
        <p:spPr>
          <a:xfrm>
            <a:off x="371475" y="2619351"/>
            <a:ext cx="5407269" cy="2387600"/>
          </a:xfrm>
          <a:prstGeom prst="rect">
            <a:avLst/>
          </a:prstGeom>
        </p:spPr>
        <p:txBody>
          <a:bodyPr anchor="ctr">
            <a:normAutofit/>
          </a:bodyPr>
          <a:lstStyle>
            <a:lvl1pPr algn="l">
              <a:defRPr sz="4800" b="1" i="0" spc="600">
                <a:ln w="22225">
                  <a:noFill/>
                </a:ln>
                <a:solidFill>
                  <a:schemeClr val="bg1"/>
                </a:solidFill>
                <a:latin typeface="Mylius Modern" panose="020B0504020202020204" pitchFamily="34" charset="0"/>
              </a:defRPr>
            </a:lvl1pPr>
          </a:lstStyle>
          <a:p>
            <a:r>
              <a:rPr lang="en-GB"/>
              <a:t>SECTION HEADING</a:t>
            </a:r>
            <a:endParaRPr lang="en-US"/>
          </a:p>
        </p:txBody>
      </p:sp>
      <p:sp>
        <p:nvSpPr>
          <p:cNvPr id="3" name="Subtitle 2">
            <a:extLst>
              <a:ext uri="{FF2B5EF4-FFF2-40B4-BE49-F238E27FC236}">
                <a16:creationId xmlns:a16="http://schemas.microsoft.com/office/drawing/2014/main" id="{90B7B0E9-12AB-A31E-C338-7476BFAFB625}"/>
              </a:ext>
            </a:extLst>
          </p:cNvPr>
          <p:cNvSpPr>
            <a:spLocks noGrp="1"/>
          </p:cNvSpPr>
          <p:nvPr>
            <p:ph type="subTitle" idx="1" hasCustomPrompt="1"/>
          </p:nvPr>
        </p:nvSpPr>
        <p:spPr>
          <a:xfrm>
            <a:off x="371475" y="5627077"/>
            <a:ext cx="5852747" cy="508028"/>
          </a:xfrm>
          <a:prstGeom prst="rect">
            <a:avLst/>
          </a:prstGeom>
        </p:spPr>
        <p:txBody>
          <a:bodyPr anchor="ctr">
            <a:normAutofit/>
          </a:bodyPr>
          <a:lstStyle>
            <a:lvl1pPr marL="0" indent="0" algn="l">
              <a:buNone/>
              <a:defRPr sz="1600" spc="300">
                <a:solidFill>
                  <a:schemeClr val="bg1"/>
                </a:solidFill>
                <a:latin typeface="Mylius Modern" panose="020B05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TextBox 3">
            <a:extLst>
              <a:ext uri="{FF2B5EF4-FFF2-40B4-BE49-F238E27FC236}">
                <a16:creationId xmlns:a16="http://schemas.microsoft.com/office/drawing/2014/main" id="{A0FD07A8-411C-DF34-BA4D-68464EA5B54B}"/>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
        <p:nvSpPr>
          <p:cNvPr id="7" name="TextBox 6">
            <a:extLst>
              <a:ext uri="{FF2B5EF4-FFF2-40B4-BE49-F238E27FC236}">
                <a16:creationId xmlns:a16="http://schemas.microsoft.com/office/drawing/2014/main" id="{DB098A88-1CAF-C159-6A24-8613763FB385}"/>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chemeClr val="bg1"/>
                </a:solidFill>
                <a:latin typeface="Mylius Modern" panose="020B0504020202020204" pitchFamily="34" charset="0"/>
              </a:rPr>
              <a:t>‹#›</a:t>
            </a:fld>
            <a:endParaRPr lang="en-US" sz="700" b="0" i="0" spc="0">
              <a:solidFill>
                <a:schemeClr val="bg1"/>
              </a:solidFill>
              <a:latin typeface="Mylius Modern" panose="020B0504020202020204" pitchFamily="34" charset="0"/>
            </a:endParaRPr>
          </a:p>
        </p:txBody>
      </p:sp>
      <p:pic>
        <p:nvPicPr>
          <p:cNvPr id="5" name="Picture 4">
            <a:extLst>
              <a:ext uri="{FF2B5EF4-FFF2-40B4-BE49-F238E27FC236}">
                <a16:creationId xmlns:a16="http://schemas.microsoft.com/office/drawing/2014/main" id="{72C70702-940E-43CF-0078-FCBC6FBA302F}"/>
              </a:ext>
            </a:extLst>
          </p:cNvPr>
          <p:cNvPicPr>
            <a:picLocks noChangeAspect="1"/>
          </p:cNvPicPr>
          <p:nvPr userDrawn="1"/>
        </p:nvPicPr>
        <p:blipFill>
          <a:blip r:embed="rId4"/>
          <a:stretch>
            <a:fillRect/>
          </a:stretch>
        </p:blipFill>
        <p:spPr>
          <a:xfrm>
            <a:off x="10066300" y="298137"/>
            <a:ext cx="491744" cy="476377"/>
          </a:xfrm>
          <a:prstGeom prst="rect">
            <a:avLst/>
          </a:prstGeom>
        </p:spPr>
      </p:pic>
    </p:spTree>
    <p:extLst>
      <p:ext uri="{BB962C8B-B14F-4D97-AF65-F5344CB8AC3E}">
        <p14:creationId xmlns:p14="http://schemas.microsoft.com/office/powerpoint/2010/main" val="32820953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pic>
        <p:nvPicPr>
          <p:cNvPr id="6" name="Picture 5" descr="A picture containing outdoor, ride&#10;&#10;Description automatically generated">
            <a:extLst>
              <a:ext uri="{FF2B5EF4-FFF2-40B4-BE49-F238E27FC236}">
                <a16:creationId xmlns:a16="http://schemas.microsoft.com/office/drawing/2014/main" id="{4F7CAF8C-C606-1FA4-29D3-FF7567AC3CA6}"/>
              </a:ext>
            </a:extLst>
          </p:cNvPr>
          <p:cNvPicPr>
            <a:picLocks noChangeAspect="1"/>
          </p:cNvPicPr>
          <p:nvPr userDrawn="1"/>
        </p:nvPicPr>
        <p:blipFill rotWithShape="1">
          <a:blip r:embed="rId2" cstate="screen">
            <a:alphaModFix amt="27000"/>
            <a:extLst>
              <a:ext uri="{28A0092B-C50C-407E-A947-70E740481C1C}">
                <a14:useLocalDpi xmlns:a14="http://schemas.microsoft.com/office/drawing/2010/main"/>
              </a:ext>
            </a:extLst>
          </a:blip>
          <a:srcRect/>
          <a:stretch/>
        </p:blipFill>
        <p:spPr>
          <a:xfrm>
            <a:off x="0" y="0"/>
            <a:ext cx="12192000" cy="6855257"/>
          </a:xfrm>
          <a:prstGeom prst="rect">
            <a:avLst/>
          </a:prstGeom>
        </p:spPr>
      </p:pic>
      <p:pic>
        <p:nvPicPr>
          <p:cNvPr id="12" name="Picture 11" descr="Shape, rectangle&#10;&#10;Description automatically generated">
            <a:extLst>
              <a:ext uri="{FF2B5EF4-FFF2-40B4-BE49-F238E27FC236}">
                <a16:creationId xmlns:a16="http://schemas.microsoft.com/office/drawing/2014/main" id="{15350861-E692-8CF1-756E-27A18EFFC8D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sp>
        <p:nvSpPr>
          <p:cNvPr id="2" name="Title 1">
            <a:extLst>
              <a:ext uri="{FF2B5EF4-FFF2-40B4-BE49-F238E27FC236}">
                <a16:creationId xmlns:a16="http://schemas.microsoft.com/office/drawing/2014/main" id="{DE90CDB1-23E8-FECF-8C5F-E9EB47BC14D3}"/>
              </a:ext>
            </a:extLst>
          </p:cNvPr>
          <p:cNvSpPr>
            <a:spLocks noGrp="1"/>
          </p:cNvSpPr>
          <p:nvPr>
            <p:ph type="ctrTitle" hasCustomPrompt="1"/>
          </p:nvPr>
        </p:nvSpPr>
        <p:spPr>
          <a:xfrm>
            <a:off x="371475" y="2619351"/>
            <a:ext cx="5407269" cy="2387600"/>
          </a:xfrm>
          <a:prstGeom prst="rect">
            <a:avLst/>
          </a:prstGeom>
        </p:spPr>
        <p:txBody>
          <a:bodyPr anchor="ctr">
            <a:normAutofit/>
          </a:bodyPr>
          <a:lstStyle>
            <a:lvl1pPr algn="l">
              <a:defRPr sz="4800" b="1" i="0" spc="600">
                <a:ln w="22225">
                  <a:noFill/>
                </a:ln>
                <a:solidFill>
                  <a:schemeClr val="bg1"/>
                </a:solidFill>
                <a:latin typeface="Mylius Modern" panose="020B0504020202020204" pitchFamily="34" charset="0"/>
              </a:defRPr>
            </a:lvl1pPr>
          </a:lstStyle>
          <a:p>
            <a:r>
              <a:rPr lang="en-GB"/>
              <a:t>SECTION HEADING</a:t>
            </a:r>
            <a:endParaRPr lang="en-US"/>
          </a:p>
        </p:txBody>
      </p:sp>
      <p:sp>
        <p:nvSpPr>
          <p:cNvPr id="3" name="Subtitle 2">
            <a:extLst>
              <a:ext uri="{FF2B5EF4-FFF2-40B4-BE49-F238E27FC236}">
                <a16:creationId xmlns:a16="http://schemas.microsoft.com/office/drawing/2014/main" id="{90B7B0E9-12AB-A31E-C338-7476BFAFB625}"/>
              </a:ext>
            </a:extLst>
          </p:cNvPr>
          <p:cNvSpPr>
            <a:spLocks noGrp="1"/>
          </p:cNvSpPr>
          <p:nvPr>
            <p:ph type="subTitle" idx="1" hasCustomPrompt="1"/>
          </p:nvPr>
        </p:nvSpPr>
        <p:spPr>
          <a:xfrm>
            <a:off x="371475" y="5627077"/>
            <a:ext cx="5852747" cy="508028"/>
          </a:xfrm>
          <a:prstGeom prst="rect">
            <a:avLst/>
          </a:prstGeom>
        </p:spPr>
        <p:txBody>
          <a:bodyPr anchor="ctr">
            <a:normAutofit/>
          </a:bodyPr>
          <a:lstStyle>
            <a:lvl1pPr marL="0" indent="0" algn="l">
              <a:buNone/>
              <a:defRPr sz="1600" spc="300">
                <a:solidFill>
                  <a:schemeClr val="bg1"/>
                </a:solidFill>
                <a:latin typeface="Mylius Modern" panose="020B05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TextBox 3">
            <a:extLst>
              <a:ext uri="{FF2B5EF4-FFF2-40B4-BE49-F238E27FC236}">
                <a16:creationId xmlns:a16="http://schemas.microsoft.com/office/drawing/2014/main" id="{A0FD07A8-411C-DF34-BA4D-68464EA5B54B}"/>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
        <p:nvSpPr>
          <p:cNvPr id="7" name="TextBox 6">
            <a:extLst>
              <a:ext uri="{FF2B5EF4-FFF2-40B4-BE49-F238E27FC236}">
                <a16:creationId xmlns:a16="http://schemas.microsoft.com/office/drawing/2014/main" id="{DB098A88-1CAF-C159-6A24-8613763FB385}"/>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chemeClr val="bg1"/>
                </a:solidFill>
                <a:latin typeface="Mylius Modern" panose="020B0504020202020204" pitchFamily="34" charset="0"/>
              </a:rPr>
              <a:t>‹#›</a:t>
            </a:fld>
            <a:endParaRPr lang="en-US" sz="700" b="0" i="0" spc="0">
              <a:solidFill>
                <a:schemeClr val="bg1"/>
              </a:solidFill>
              <a:latin typeface="Mylius Modern" panose="020B0504020202020204" pitchFamily="34" charset="0"/>
            </a:endParaRPr>
          </a:p>
        </p:txBody>
      </p:sp>
      <p:pic>
        <p:nvPicPr>
          <p:cNvPr id="5" name="Picture 4">
            <a:extLst>
              <a:ext uri="{FF2B5EF4-FFF2-40B4-BE49-F238E27FC236}">
                <a16:creationId xmlns:a16="http://schemas.microsoft.com/office/drawing/2014/main" id="{1BF80BA2-9F5D-D2A5-5B5C-E802BA225575}"/>
              </a:ext>
            </a:extLst>
          </p:cNvPr>
          <p:cNvPicPr>
            <a:picLocks noChangeAspect="1"/>
          </p:cNvPicPr>
          <p:nvPr userDrawn="1"/>
        </p:nvPicPr>
        <p:blipFill>
          <a:blip r:embed="rId4"/>
          <a:stretch>
            <a:fillRect/>
          </a:stretch>
        </p:blipFill>
        <p:spPr>
          <a:xfrm>
            <a:off x="10066300" y="298137"/>
            <a:ext cx="491744" cy="476377"/>
          </a:xfrm>
          <a:prstGeom prst="rect">
            <a:avLst/>
          </a:prstGeom>
        </p:spPr>
      </p:pic>
    </p:spTree>
    <p:extLst>
      <p:ext uri="{BB962C8B-B14F-4D97-AF65-F5344CB8AC3E}">
        <p14:creationId xmlns:p14="http://schemas.microsoft.com/office/powerpoint/2010/main" val="17450182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B33B8BB-844D-E43A-8DCD-829EC1A1C294}"/>
              </a:ext>
            </a:extLst>
          </p:cNvPr>
          <p:cNvPicPr>
            <a:picLocks noChangeAspect="1"/>
          </p:cNvPicPr>
          <p:nvPr userDrawn="1"/>
        </p:nvPicPr>
        <p:blipFill>
          <a:blip r:embed="rId2">
            <a:alphaModFix amt="28000"/>
          </a:blip>
          <a:stretch>
            <a:fillRect/>
          </a:stretch>
        </p:blipFill>
        <p:spPr>
          <a:xfrm>
            <a:off x="0" y="0"/>
            <a:ext cx="12192000" cy="6875188"/>
          </a:xfrm>
          <a:prstGeom prst="rect">
            <a:avLst/>
          </a:prstGeom>
        </p:spPr>
      </p:pic>
      <p:pic>
        <p:nvPicPr>
          <p:cNvPr id="12" name="Picture 11" descr="Shape, rectangle&#10;&#10;Description automatically generated">
            <a:extLst>
              <a:ext uri="{FF2B5EF4-FFF2-40B4-BE49-F238E27FC236}">
                <a16:creationId xmlns:a16="http://schemas.microsoft.com/office/drawing/2014/main" id="{15350861-E692-8CF1-756E-27A18EFFC8D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sp>
        <p:nvSpPr>
          <p:cNvPr id="2" name="Title 1">
            <a:extLst>
              <a:ext uri="{FF2B5EF4-FFF2-40B4-BE49-F238E27FC236}">
                <a16:creationId xmlns:a16="http://schemas.microsoft.com/office/drawing/2014/main" id="{DE90CDB1-23E8-FECF-8C5F-E9EB47BC14D3}"/>
              </a:ext>
            </a:extLst>
          </p:cNvPr>
          <p:cNvSpPr>
            <a:spLocks noGrp="1"/>
          </p:cNvSpPr>
          <p:nvPr>
            <p:ph type="ctrTitle" hasCustomPrompt="1"/>
          </p:nvPr>
        </p:nvSpPr>
        <p:spPr>
          <a:xfrm>
            <a:off x="371475" y="2619351"/>
            <a:ext cx="5407269" cy="2387600"/>
          </a:xfrm>
          <a:prstGeom prst="rect">
            <a:avLst/>
          </a:prstGeom>
        </p:spPr>
        <p:txBody>
          <a:bodyPr anchor="ctr">
            <a:normAutofit/>
          </a:bodyPr>
          <a:lstStyle>
            <a:lvl1pPr algn="l">
              <a:defRPr sz="4800" b="1" i="0" spc="600">
                <a:ln w="22225">
                  <a:noFill/>
                </a:ln>
                <a:solidFill>
                  <a:schemeClr val="bg1"/>
                </a:solidFill>
                <a:latin typeface="Mylius Modern" panose="020B0504020202020204" pitchFamily="34" charset="0"/>
              </a:defRPr>
            </a:lvl1pPr>
          </a:lstStyle>
          <a:p>
            <a:r>
              <a:rPr lang="en-GB"/>
              <a:t>SECTION HEADING</a:t>
            </a:r>
            <a:endParaRPr lang="en-US"/>
          </a:p>
        </p:txBody>
      </p:sp>
      <p:sp>
        <p:nvSpPr>
          <p:cNvPr id="3" name="Subtitle 2">
            <a:extLst>
              <a:ext uri="{FF2B5EF4-FFF2-40B4-BE49-F238E27FC236}">
                <a16:creationId xmlns:a16="http://schemas.microsoft.com/office/drawing/2014/main" id="{90B7B0E9-12AB-A31E-C338-7476BFAFB625}"/>
              </a:ext>
            </a:extLst>
          </p:cNvPr>
          <p:cNvSpPr>
            <a:spLocks noGrp="1"/>
          </p:cNvSpPr>
          <p:nvPr>
            <p:ph type="subTitle" idx="1" hasCustomPrompt="1"/>
          </p:nvPr>
        </p:nvSpPr>
        <p:spPr>
          <a:xfrm>
            <a:off x="371475" y="5627077"/>
            <a:ext cx="5852747" cy="508028"/>
          </a:xfrm>
          <a:prstGeom prst="rect">
            <a:avLst/>
          </a:prstGeom>
        </p:spPr>
        <p:txBody>
          <a:bodyPr anchor="ctr">
            <a:normAutofit/>
          </a:bodyPr>
          <a:lstStyle>
            <a:lvl1pPr marL="0" indent="0" algn="l">
              <a:buNone/>
              <a:defRPr sz="1600" spc="300">
                <a:solidFill>
                  <a:schemeClr val="bg1"/>
                </a:solidFill>
                <a:latin typeface="Mylius Modern" panose="020B05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TextBox 3">
            <a:extLst>
              <a:ext uri="{FF2B5EF4-FFF2-40B4-BE49-F238E27FC236}">
                <a16:creationId xmlns:a16="http://schemas.microsoft.com/office/drawing/2014/main" id="{A0FD07A8-411C-DF34-BA4D-68464EA5B54B}"/>
              </a:ext>
            </a:extLst>
          </p:cNvPr>
          <p:cNvSpPr txBox="1"/>
          <p:nvPr userDrawn="1"/>
        </p:nvSpPr>
        <p:spPr>
          <a:xfrm>
            <a:off x="0" y="6655203"/>
            <a:ext cx="4639456" cy="200055"/>
          </a:xfrm>
          <a:prstGeom prst="rect">
            <a:avLst/>
          </a:prstGeom>
          <a:noFill/>
        </p:spPr>
        <p:txBody>
          <a:bodyPr wrap="square" rtlCol="0">
            <a:spAutoFit/>
          </a:bodyPr>
          <a:lstStyle/>
          <a:p>
            <a:r>
              <a:rPr lang="en-US" sz="700" b="0" i="0" spc="0">
                <a:solidFill>
                  <a:schemeClr val="bg1"/>
                </a:solidFill>
                <a:latin typeface="Mylius Modern" panose="020B0504020202020204" pitchFamily="34" charset="0"/>
              </a:rPr>
              <a:t>INFORMATION FOR BRITISH AIRWAYS INTERNAL USE ONLY</a:t>
            </a:r>
          </a:p>
        </p:txBody>
      </p:sp>
      <p:sp>
        <p:nvSpPr>
          <p:cNvPr id="7" name="TextBox 6">
            <a:extLst>
              <a:ext uri="{FF2B5EF4-FFF2-40B4-BE49-F238E27FC236}">
                <a16:creationId xmlns:a16="http://schemas.microsoft.com/office/drawing/2014/main" id="{DB098A88-1CAF-C159-6A24-8613763FB385}"/>
              </a:ext>
            </a:extLst>
          </p:cNvPr>
          <p:cNvSpPr txBox="1"/>
          <p:nvPr userDrawn="1"/>
        </p:nvSpPr>
        <p:spPr>
          <a:xfrm>
            <a:off x="7552546" y="6655202"/>
            <a:ext cx="4639456" cy="200055"/>
          </a:xfrm>
          <a:prstGeom prst="rect">
            <a:avLst/>
          </a:prstGeom>
          <a:noFill/>
        </p:spPr>
        <p:txBody>
          <a:bodyPr wrap="square" rtlCol="0">
            <a:spAutoFit/>
          </a:bodyPr>
          <a:lstStyle/>
          <a:p>
            <a:pPr algn="r"/>
            <a:fld id="{A07F3596-D93E-B44B-BA7B-39275F3CDE6E}" type="slidenum">
              <a:rPr lang="en-US" sz="700" b="0" i="0" spc="0" smtClean="0">
                <a:solidFill>
                  <a:schemeClr val="bg1"/>
                </a:solidFill>
                <a:latin typeface="Mylius Modern" panose="020B0504020202020204" pitchFamily="34" charset="0"/>
              </a:rPr>
              <a:t>‹#›</a:t>
            </a:fld>
            <a:endParaRPr lang="en-US" sz="700" b="0" i="0" spc="0">
              <a:solidFill>
                <a:schemeClr val="bg1"/>
              </a:solidFill>
              <a:latin typeface="Mylius Modern" panose="020B0504020202020204" pitchFamily="34" charset="0"/>
            </a:endParaRPr>
          </a:p>
        </p:txBody>
      </p:sp>
      <p:pic>
        <p:nvPicPr>
          <p:cNvPr id="6" name="Picture 5">
            <a:extLst>
              <a:ext uri="{FF2B5EF4-FFF2-40B4-BE49-F238E27FC236}">
                <a16:creationId xmlns:a16="http://schemas.microsoft.com/office/drawing/2014/main" id="{0C880521-99C2-4203-2963-E2841A5A0ED0}"/>
              </a:ext>
            </a:extLst>
          </p:cNvPr>
          <p:cNvPicPr>
            <a:picLocks noChangeAspect="1"/>
          </p:cNvPicPr>
          <p:nvPr userDrawn="1"/>
        </p:nvPicPr>
        <p:blipFill>
          <a:blip r:embed="rId4"/>
          <a:stretch>
            <a:fillRect/>
          </a:stretch>
        </p:blipFill>
        <p:spPr>
          <a:xfrm>
            <a:off x="10066300" y="298137"/>
            <a:ext cx="491744" cy="476377"/>
          </a:xfrm>
          <a:prstGeom prst="rect">
            <a:avLst/>
          </a:prstGeom>
        </p:spPr>
      </p:pic>
    </p:spTree>
    <p:extLst>
      <p:ext uri="{BB962C8B-B14F-4D97-AF65-F5344CB8AC3E}">
        <p14:creationId xmlns:p14="http://schemas.microsoft.com/office/powerpoint/2010/main" val="163487675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image" Target="../media/image4.png"/><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image" Target="../media/image5.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image" Target="../media/image5.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image" Target="../media/image4.png"/><Relationship Id="rId5" Type="http://schemas.openxmlformats.org/officeDocument/2006/relationships/slideLayout" Target="../slideLayouts/slideLayout18.xml"/><Relationship Id="rId10" Type="http://schemas.openxmlformats.org/officeDocument/2006/relationships/theme" Target="../theme/theme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theme" Target="../theme/theme4.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image" Target="../media/image5.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image" Target="../media/image4.pn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4BCAE110-9424-BA48-83B0-E7C192BA04BD}"/>
              </a:ext>
            </a:extLst>
          </p:cNvPr>
          <p:cNvSpPr/>
          <p:nvPr userDrawn="1"/>
        </p:nvSpPr>
        <p:spPr>
          <a:xfrm>
            <a:off x="0" y="-24080"/>
            <a:ext cx="12192000" cy="6882080"/>
          </a:xfrm>
          <a:prstGeom prst="rect">
            <a:avLst/>
          </a:prstGeom>
          <a:solidFill>
            <a:srgbClr val="0855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 name="Rectangle 1">
            <a:extLst>
              <a:ext uri="{FF2B5EF4-FFF2-40B4-BE49-F238E27FC236}">
                <a16:creationId xmlns:a16="http://schemas.microsoft.com/office/drawing/2014/main" id="{5C1890E6-E63B-68F2-3808-6395099F55A5}"/>
              </a:ext>
            </a:extLst>
          </p:cNvPr>
          <p:cNvSpPr/>
          <p:nvPr userDrawn="1"/>
        </p:nvSpPr>
        <p:spPr>
          <a:xfrm>
            <a:off x="0" y="-46384"/>
            <a:ext cx="12192000" cy="6904383"/>
          </a:xfrm>
          <a:prstGeom prst="rect">
            <a:avLst/>
          </a:prstGeom>
          <a:gradFill>
            <a:gsLst>
              <a:gs pos="0">
                <a:srgbClr val="5F899E"/>
              </a:gs>
              <a:gs pos="40000">
                <a:srgbClr val="0B5574"/>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47688577"/>
      </p:ext>
    </p:extLst>
  </p:cSld>
  <p:clrMap bg1="lt1" tx1="dk1" bg2="lt2" tx2="dk2" accent1="accent1" accent2="accent2" accent3="accent3" accent4="accent4" accent5="accent5" accent6="accent6" hlink="hlink" folHlink="folHlink"/>
  <p:sldLayoutIdLst>
    <p:sldLayoutId id="2147483649" r:id="rId1"/>
    <p:sldLayoutId id="2147483718"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FDED589-FF77-84DB-C8B7-3B8BC9ABB949}"/>
              </a:ext>
            </a:extLst>
          </p:cNvPr>
          <p:cNvSpPr/>
          <p:nvPr userDrawn="1"/>
        </p:nvSpPr>
        <p:spPr>
          <a:xfrm>
            <a:off x="0" y="0"/>
            <a:ext cx="12192000" cy="6858000"/>
          </a:xfrm>
          <a:prstGeom prst="rect">
            <a:avLst/>
          </a:prstGeom>
          <a:gradFill>
            <a:gsLst>
              <a:gs pos="48000">
                <a:srgbClr val="085574"/>
              </a:gs>
              <a:gs pos="6000">
                <a:srgbClr val="E37A7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Shape, rectangle&#10;&#10;Description automatically generated">
            <a:extLst>
              <a:ext uri="{FF2B5EF4-FFF2-40B4-BE49-F238E27FC236}">
                <a16:creationId xmlns:a16="http://schemas.microsoft.com/office/drawing/2014/main" id="{6142CA9F-0E2C-3AFD-5C5F-6BB98518239E}"/>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pic>
        <p:nvPicPr>
          <p:cNvPr id="2" name="Picture 1">
            <a:extLst>
              <a:ext uri="{FF2B5EF4-FFF2-40B4-BE49-F238E27FC236}">
                <a16:creationId xmlns:a16="http://schemas.microsoft.com/office/drawing/2014/main" id="{B8E6CC92-E47C-69A4-35F8-832C47D2A1D3}"/>
              </a:ext>
            </a:extLst>
          </p:cNvPr>
          <p:cNvPicPr>
            <a:picLocks noChangeAspect="1"/>
          </p:cNvPicPr>
          <p:nvPr userDrawn="1"/>
        </p:nvPicPr>
        <p:blipFill>
          <a:blip r:embed="rId14"/>
          <a:stretch>
            <a:fillRect/>
          </a:stretch>
        </p:blipFill>
        <p:spPr>
          <a:xfrm>
            <a:off x="10066300" y="298137"/>
            <a:ext cx="491744" cy="476377"/>
          </a:xfrm>
          <a:prstGeom prst="rect">
            <a:avLst/>
          </a:prstGeom>
        </p:spPr>
      </p:pic>
    </p:spTree>
    <p:extLst>
      <p:ext uri="{BB962C8B-B14F-4D97-AF65-F5344CB8AC3E}">
        <p14:creationId xmlns:p14="http://schemas.microsoft.com/office/powerpoint/2010/main" val="2640246916"/>
      </p:ext>
    </p:extLst>
  </p:cSld>
  <p:clrMap bg1="lt1" tx1="dk1" bg2="lt2" tx2="dk2" accent1="accent1" accent2="accent2" accent3="accent3" accent4="accent4" accent5="accent5" accent6="accent6" hlink="hlink" folHlink="folHlink"/>
  <p:sldLayoutIdLst>
    <p:sldLayoutId id="2147483650" r:id="rId1"/>
    <p:sldLayoutId id="2147483691" r:id="rId2"/>
    <p:sldLayoutId id="2147483692" r:id="rId3"/>
    <p:sldLayoutId id="2147483729" r:id="rId4"/>
    <p:sldLayoutId id="2147483693" r:id="rId5"/>
    <p:sldLayoutId id="2147483694" r:id="rId6"/>
    <p:sldLayoutId id="2147483695" r:id="rId7"/>
    <p:sldLayoutId id="2147483696" r:id="rId8"/>
    <p:sldLayoutId id="2147483697" r:id="rId9"/>
    <p:sldLayoutId id="2147483698" r:id="rId10"/>
    <p:sldLayoutId id="2147483716"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FDED589-FF77-84DB-C8B7-3B8BC9ABB949}"/>
              </a:ext>
            </a:extLst>
          </p:cNvPr>
          <p:cNvSpPr/>
          <p:nvPr userDrawn="1"/>
        </p:nvSpPr>
        <p:spPr>
          <a:xfrm>
            <a:off x="0" y="0"/>
            <a:ext cx="12192000" cy="6858000"/>
          </a:xfrm>
          <a:prstGeom prst="rect">
            <a:avLst/>
          </a:prstGeom>
          <a:gradFill>
            <a:gsLst>
              <a:gs pos="48000">
                <a:srgbClr val="085574"/>
              </a:gs>
              <a:gs pos="6000">
                <a:srgbClr val="E37A7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Shape, rectangle&#10;&#10;Description automatically generated">
            <a:extLst>
              <a:ext uri="{FF2B5EF4-FFF2-40B4-BE49-F238E27FC236}">
                <a16:creationId xmlns:a16="http://schemas.microsoft.com/office/drawing/2014/main" id="{6142CA9F-0E2C-3AFD-5C5F-6BB98518239E}"/>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pic>
        <p:nvPicPr>
          <p:cNvPr id="2" name="Picture 1">
            <a:extLst>
              <a:ext uri="{FF2B5EF4-FFF2-40B4-BE49-F238E27FC236}">
                <a16:creationId xmlns:a16="http://schemas.microsoft.com/office/drawing/2014/main" id="{BC0E3669-5FF0-6B25-F99B-96CC3E175131}"/>
              </a:ext>
            </a:extLst>
          </p:cNvPr>
          <p:cNvPicPr>
            <a:picLocks noChangeAspect="1"/>
          </p:cNvPicPr>
          <p:nvPr userDrawn="1"/>
        </p:nvPicPr>
        <p:blipFill>
          <a:blip r:embed="rId12"/>
          <a:stretch>
            <a:fillRect/>
          </a:stretch>
        </p:blipFill>
        <p:spPr>
          <a:xfrm>
            <a:off x="10066300" y="298137"/>
            <a:ext cx="491744" cy="476377"/>
          </a:xfrm>
          <a:prstGeom prst="rect">
            <a:avLst/>
          </a:prstGeom>
        </p:spPr>
      </p:pic>
    </p:spTree>
    <p:extLst>
      <p:ext uri="{BB962C8B-B14F-4D97-AF65-F5344CB8AC3E}">
        <p14:creationId xmlns:p14="http://schemas.microsoft.com/office/powerpoint/2010/main" val="4068384291"/>
      </p:ext>
    </p:extLst>
  </p:cSld>
  <p:clrMap bg1="lt1" tx1="dk1" bg2="lt2" tx2="dk2" accent1="accent1" accent2="accent2" accent3="accent3" accent4="accent4" accent5="accent5" accent6="accent6" hlink="hlink" folHlink="folHlink"/>
  <p:sldLayoutIdLst>
    <p:sldLayoutId id="2147483719" r:id="rId1"/>
    <p:sldLayoutId id="2147483730" r:id="rId2"/>
    <p:sldLayoutId id="2147483709" r:id="rId3"/>
    <p:sldLayoutId id="2147483714" r:id="rId4"/>
    <p:sldLayoutId id="2147483715" r:id="rId5"/>
    <p:sldLayoutId id="2147483717" r:id="rId6"/>
    <p:sldLayoutId id="2147483711" r:id="rId7"/>
    <p:sldLayoutId id="2147483712" r:id="rId8"/>
    <p:sldLayoutId id="2147483713" r:id="rId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C8C541D-F677-49F2-8953-33D3BC733509}"/>
              </a:ext>
            </a:extLst>
          </p:cNvPr>
          <p:cNvSpPr/>
          <p:nvPr userDrawn="1"/>
        </p:nvSpPr>
        <p:spPr>
          <a:xfrm>
            <a:off x="0" y="-24080"/>
            <a:ext cx="12192000" cy="1045029"/>
          </a:xfrm>
          <a:prstGeom prst="rect">
            <a:avLst/>
          </a:prstGeom>
          <a:solidFill>
            <a:srgbClr val="0855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 name="Rectangle 1">
            <a:extLst>
              <a:ext uri="{FF2B5EF4-FFF2-40B4-BE49-F238E27FC236}">
                <a16:creationId xmlns:a16="http://schemas.microsoft.com/office/drawing/2014/main" id="{84B8FA08-76BE-9395-FF03-F8A1C69BC99C}"/>
              </a:ext>
            </a:extLst>
          </p:cNvPr>
          <p:cNvSpPr/>
          <p:nvPr userDrawn="1"/>
        </p:nvSpPr>
        <p:spPr>
          <a:xfrm>
            <a:off x="0" y="-24080"/>
            <a:ext cx="12192000" cy="1045029"/>
          </a:xfrm>
          <a:prstGeom prst="rect">
            <a:avLst/>
          </a:prstGeom>
          <a:gradFill>
            <a:gsLst>
              <a:gs pos="32000">
                <a:srgbClr val="085574">
                  <a:alpha val="8563"/>
                </a:srgbClr>
              </a:gs>
              <a:gs pos="0">
                <a:srgbClr val="E37A76">
                  <a:alpha val="85143"/>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Shape, rectangle&#10;&#10;Description automatically generated">
            <a:extLst>
              <a:ext uri="{FF2B5EF4-FFF2-40B4-BE49-F238E27FC236}">
                <a16:creationId xmlns:a16="http://schemas.microsoft.com/office/drawing/2014/main" id="{F150EF43-4729-6D71-A6DC-770B1B67E270}"/>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0810753" y="368300"/>
            <a:ext cx="1046285" cy="260270"/>
          </a:xfrm>
          <a:prstGeom prst="rect">
            <a:avLst/>
          </a:prstGeom>
        </p:spPr>
      </p:pic>
      <p:pic>
        <p:nvPicPr>
          <p:cNvPr id="3" name="Picture 2">
            <a:extLst>
              <a:ext uri="{FF2B5EF4-FFF2-40B4-BE49-F238E27FC236}">
                <a16:creationId xmlns:a16="http://schemas.microsoft.com/office/drawing/2014/main" id="{7105A111-B823-9DFD-C04E-F3EEDDAF9BF4}"/>
              </a:ext>
            </a:extLst>
          </p:cNvPr>
          <p:cNvPicPr>
            <a:picLocks noChangeAspect="1"/>
          </p:cNvPicPr>
          <p:nvPr userDrawn="1"/>
        </p:nvPicPr>
        <p:blipFill>
          <a:blip r:embed="rId20"/>
          <a:stretch>
            <a:fillRect/>
          </a:stretch>
        </p:blipFill>
        <p:spPr>
          <a:xfrm>
            <a:off x="10066300" y="298137"/>
            <a:ext cx="491744" cy="476377"/>
          </a:xfrm>
          <a:prstGeom prst="rect">
            <a:avLst/>
          </a:prstGeom>
        </p:spPr>
      </p:pic>
    </p:spTree>
    <p:extLst>
      <p:ext uri="{BB962C8B-B14F-4D97-AF65-F5344CB8AC3E}">
        <p14:creationId xmlns:p14="http://schemas.microsoft.com/office/powerpoint/2010/main" val="2577300477"/>
      </p:ext>
    </p:extLst>
  </p:cSld>
  <p:clrMap bg1="lt1" tx1="dk1" bg2="lt2" tx2="dk2" accent1="accent1" accent2="accent2" accent3="accent3" accent4="accent4" accent5="accent5" accent6="accent6" hlink="hlink" folHlink="folHlink"/>
  <p:sldLayoutIdLst>
    <p:sldLayoutId id="2147483726" r:id="rId1"/>
    <p:sldLayoutId id="2147483687" r:id="rId2"/>
    <p:sldLayoutId id="2147483728" r:id="rId3"/>
    <p:sldLayoutId id="2147483731" r:id="rId4"/>
    <p:sldLayoutId id="2147483724" r:id="rId5"/>
    <p:sldLayoutId id="2147483652" r:id="rId6"/>
    <p:sldLayoutId id="2147483665" r:id="rId7"/>
    <p:sldLayoutId id="2147483683" r:id="rId8"/>
    <p:sldLayoutId id="2147483684" r:id="rId9"/>
    <p:sldLayoutId id="2147483685" r:id="rId10"/>
    <p:sldLayoutId id="2147483686" r:id="rId11"/>
    <p:sldLayoutId id="2147483727" r:id="rId12"/>
    <p:sldLayoutId id="2147483725" r:id="rId13"/>
    <p:sldLayoutId id="2147483720" r:id="rId14"/>
    <p:sldLayoutId id="2147483721" r:id="rId15"/>
    <p:sldLayoutId id="2147483722" r:id="rId16"/>
    <p:sldLayoutId id="2147483723" r:id="rId1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26.xml"/><Relationship Id="rId5" Type="http://schemas.openxmlformats.org/officeDocument/2006/relationships/image" Target="../media/image35.png"/><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29.xml"/><Relationship Id="rId4" Type="http://schemas.openxmlformats.org/officeDocument/2006/relationships/image" Target="../media/image3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30.xml"/><Relationship Id="rId5" Type="http://schemas.openxmlformats.org/officeDocument/2006/relationships/image" Target="../media/image40.png"/><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26.xml"/><Relationship Id="rId6" Type="http://schemas.openxmlformats.org/officeDocument/2006/relationships/image" Target="../media/image30.png"/><Relationship Id="rId5" Type="http://schemas.openxmlformats.org/officeDocument/2006/relationships/image" Target="../media/image29.jpe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26.xml"/><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824667-FFA7-FEB4-F23E-F19690098D7A}"/>
              </a:ext>
            </a:extLst>
          </p:cNvPr>
          <p:cNvSpPr>
            <a:spLocks noGrp="1"/>
          </p:cNvSpPr>
          <p:nvPr>
            <p:ph type="ctrTitle"/>
          </p:nvPr>
        </p:nvSpPr>
        <p:spPr>
          <a:xfrm>
            <a:off x="895351" y="2619351"/>
            <a:ext cx="10401299" cy="2387600"/>
          </a:xfrm>
        </p:spPr>
        <p:txBody>
          <a:bodyPr>
            <a:noAutofit/>
          </a:bodyPr>
          <a:lstStyle/>
          <a:p>
            <a:r>
              <a:rPr lang="en-US" sz="3600"/>
              <a:t>TERMINAL 3 LOUNGE ELIGIBILITY</a:t>
            </a:r>
            <a:br>
              <a:rPr lang="en-US" sz="3600"/>
            </a:br>
            <a:br>
              <a:rPr lang="en-US" sz="3600"/>
            </a:br>
            <a:r>
              <a:rPr lang="en-US" sz="3600"/>
              <a:t>PROPOSALS AND INSIGHTS</a:t>
            </a:r>
          </a:p>
        </p:txBody>
      </p:sp>
      <p:sp>
        <p:nvSpPr>
          <p:cNvPr id="3" name="Subtitle 2">
            <a:extLst>
              <a:ext uri="{FF2B5EF4-FFF2-40B4-BE49-F238E27FC236}">
                <a16:creationId xmlns:a16="http://schemas.microsoft.com/office/drawing/2014/main" id="{F0CDD5DC-1F36-2686-462E-4ABAD546CB4A}"/>
              </a:ext>
            </a:extLst>
          </p:cNvPr>
          <p:cNvSpPr>
            <a:spLocks noGrp="1"/>
          </p:cNvSpPr>
          <p:nvPr>
            <p:ph type="subTitle" idx="1"/>
          </p:nvPr>
        </p:nvSpPr>
        <p:spPr/>
        <p:txBody>
          <a:bodyPr/>
          <a:lstStyle/>
          <a:p>
            <a:r>
              <a:rPr lang="en-US"/>
              <a:t>George Daish, Ian Ma, Jamie Scragg</a:t>
            </a:r>
          </a:p>
        </p:txBody>
      </p:sp>
      <p:sp>
        <p:nvSpPr>
          <p:cNvPr id="4" name="Text Placeholder 3">
            <a:extLst>
              <a:ext uri="{FF2B5EF4-FFF2-40B4-BE49-F238E27FC236}">
                <a16:creationId xmlns:a16="http://schemas.microsoft.com/office/drawing/2014/main" id="{77182BFB-C1F4-0D35-760F-8863062E186F}"/>
              </a:ext>
            </a:extLst>
          </p:cNvPr>
          <p:cNvSpPr>
            <a:spLocks noGrp="1"/>
          </p:cNvSpPr>
          <p:nvPr>
            <p:ph type="body" sz="quarter" idx="10"/>
          </p:nvPr>
        </p:nvSpPr>
        <p:spPr/>
        <p:txBody>
          <a:bodyPr/>
          <a:lstStyle/>
          <a:p>
            <a:r>
              <a:rPr lang="en-US" dirty="0"/>
              <a:t>8 November 2023</a:t>
            </a:r>
          </a:p>
        </p:txBody>
      </p:sp>
    </p:spTree>
    <p:extLst>
      <p:ext uri="{BB962C8B-B14F-4D97-AF65-F5344CB8AC3E}">
        <p14:creationId xmlns:p14="http://schemas.microsoft.com/office/powerpoint/2010/main" val="28848698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D0B2C1C-668C-3A65-A547-71F451CD2E82}"/>
              </a:ext>
            </a:extLst>
          </p:cNvPr>
          <p:cNvSpPr>
            <a:spLocks noGrp="1"/>
          </p:cNvSpPr>
          <p:nvPr>
            <p:ph type="title"/>
          </p:nvPr>
        </p:nvSpPr>
        <p:spPr/>
        <p:txBody>
          <a:bodyPr/>
          <a:lstStyle/>
          <a:p>
            <a:r>
              <a:rPr lang="en-GB" dirty="0"/>
              <a:t>WHY INCLUDE THE BREAKDOWN BY FIRST SEATS?</a:t>
            </a:r>
          </a:p>
        </p:txBody>
      </p:sp>
      <p:pic>
        <p:nvPicPr>
          <p:cNvPr id="7" name="Picture 6" descr="A blue and white bar with black text&#10;&#10;Description automatically generated">
            <a:extLst>
              <a:ext uri="{FF2B5EF4-FFF2-40B4-BE49-F238E27FC236}">
                <a16:creationId xmlns:a16="http://schemas.microsoft.com/office/drawing/2014/main" id="{253090CE-8862-B37D-058F-DCF6C92326DD}"/>
              </a:ext>
            </a:extLst>
          </p:cNvPr>
          <p:cNvPicPr>
            <a:picLocks noChangeAspect="1"/>
          </p:cNvPicPr>
          <p:nvPr/>
        </p:nvPicPr>
        <p:blipFill>
          <a:blip r:embed="rId3"/>
          <a:stretch>
            <a:fillRect/>
          </a:stretch>
        </p:blipFill>
        <p:spPr>
          <a:xfrm>
            <a:off x="343672" y="4112936"/>
            <a:ext cx="8279120" cy="1430346"/>
          </a:xfrm>
          <a:prstGeom prst="rect">
            <a:avLst/>
          </a:prstGeom>
        </p:spPr>
      </p:pic>
      <p:pic>
        <p:nvPicPr>
          <p:cNvPr id="11" name="Picture 10">
            <a:extLst>
              <a:ext uri="{FF2B5EF4-FFF2-40B4-BE49-F238E27FC236}">
                <a16:creationId xmlns:a16="http://schemas.microsoft.com/office/drawing/2014/main" id="{0A38672D-3ECA-C7B9-2973-227193DDEDE5}"/>
              </a:ext>
            </a:extLst>
          </p:cNvPr>
          <p:cNvPicPr>
            <a:picLocks noChangeAspect="1"/>
          </p:cNvPicPr>
          <p:nvPr/>
        </p:nvPicPr>
        <p:blipFill>
          <a:blip r:embed="rId4"/>
          <a:stretch>
            <a:fillRect/>
          </a:stretch>
        </p:blipFill>
        <p:spPr>
          <a:xfrm>
            <a:off x="423575" y="2897436"/>
            <a:ext cx="8199217" cy="1111463"/>
          </a:xfrm>
          <a:prstGeom prst="rect">
            <a:avLst/>
          </a:prstGeom>
        </p:spPr>
      </p:pic>
      <p:pic>
        <p:nvPicPr>
          <p:cNvPr id="13" name="Picture 12">
            <a:extLst>
              <a:ext uri="{FF2B5EF4-FFF2-40B4-BE49-F238E27FC236}">
                <a16:creationId xmlns:a16="http://schemas.microsoft.com/office/drawing/2014/main" id="{588D441D-8EE1-CE11-74C6-A9C7E4A69A3D}"/>
              </a:ext>
            </a:extLst>
          </p:cNvPr>
          <p:cNvPicPr>
            <a:picLocks noChangeAspect="1"/>
          </p:cNvPicPr>
          <p:nvPr/>
        </p:nvPicPr>
        <p:blipFill>
          <a:blip r:embed="rId5"/>
          <a:stretch>
            <a:fillRect/>
          </a:stretch>
        </p:blipFill>
        <p:spPr>
          <a:xfrm>
            <a:off x="343672" y="1626309"/>
            <a:ext cx="8199217" cy="1166293"/>
          </a:xfrm>
          <a:prstGeom prst="rect">
            <a:avLst/>
          </a:prstGeom>
        </p:spPr>
      </p:pic>
      <p:sp>
        <p:nvSpPr>
          <p:cNvPr id="14" name="TextBox 13">
            <a:extLst>
              <a:ext uri="{FF2B5EF4-FFF2-40B4-BE49-F238E27FC236}">
                <a16:creationId xmlns:a16="http://schemas.microsoft.com/office/drawing/2014/main" id="{080C0107-C386-CFAE-5D31-CDF388F84A38}"/>
              </a:ext>
            </a:extLst>
          </p:cNvPr>
          <p:cNvSpPr txBox="1"/>
          <p:nvPr/>
        </p:nvSpPr>
        <p:spPr>
          <a:xfrm>
            <a:off x="8823960" y="1773936"/>
            <a:ext cx="3191256" cy="1477328"/>
          </a:xfrm>
          <a:prstGeom prst="rect">
            <a:avLst/>
          </a:prstGeom>
          <a:noFill/>
        </p:spPr>
        <p:txBody>
          <a:bodyPr wrap="square" rtlCol="0">
            <a:spAutoFit/>
          </a:bodyPr>
          <a:lstStyle/>
          <a:p>
            <a:r>
              <a:rPr lang="en-GB" dirty="0"/>
              <a:t>Overwhelming majority of Tier 1 customers get their lounge access by flying First, not status.</a:t>
            </a:r>
          </a:p>
          <a:p>
            <a:endParaRPr lang="en-GB" dirty="0"/>
          </a:p>
        </p:txBody>
      </p:sp>
      <p:sp>
        <p:nvSpPr>
          <p:cNvPr id="16" name="TextBox 15">
            <a:extLst>
              <a:ext uri="{FF2B5EF4-FFF2-40B4-BE49-F238E27FC236}">
                <a16:creationId xmlns:a16="http://schemas.microsoft.com/office/drawing/2014/main" id="{608EDADD-FD43-0AFF-DAB8-EC61A1D64801}"/>
              </a:ext>
            </a:extLst>
          </p:cNvPr>
          <p:cNvSpPr txBox="1"/>
          <p:nvPr/>
        </p:nvSpPr>
        <p:spPr>
          <a:xfrm>
            <a:off x="8823960" y="4349496"/>
            <a:ext cx="3191256" cy="646331"/>
          </a:xfrm>
          <a:prstGeom prst="rect">
            <a:avLst/>
          </a:prstGeom>
          <a:noFill/>
        </p:spPr>
        <p:txBody>
          <a:bodyPr wrap="square" rtlCol="0">
            <a:spAutoFit/>
          </a:bodyPr>
          <a:lstStyle/>
          <a:p>
            <a:r>
              <a:rPr lang="en-GB" dirty="0"/>
              <a:t>Very few flights had 10, 12 or 17 seats in First.</a:t>
            </a:r>
          </a:p>
        </p:txBody>
      </p:sp>
      <p:sp>
        <p:nvSpPr>
          <p:cNvPr id="17" name="TextBox 16">
            <a:extLst>
              <a:ext uri="{FF2B5EF4-FFF2-40B4-BE49-F238E27FC236}">
                <a16:creationId xmlns:a16="http://schemas.microsoft.com/office/drawing/2014/main" id="{BA49E86C-9D7E-7EEB-2C70-307FD83BFA63}"/>
              </a:ext>
            </a:extLst>
          </p:cNvPr>
          <p:cNvSpPr txBox="1"/>
          <p:nvPr/>
        </p:nvSpPr>
        <p:spPr>
          <a:xfrm>
            <a:off x="8458200" y="5718184"/>
            <a:ext cx="3922776" cy="923330"/>
          </a:xfrm>
          <a:prstGeom prst="rect">
            <a:avLst/>
          </a:prstGeom>
          <a:noFill/>
        </p:spPr>
        <p:txBody>
          <a:bodyPr wrap="square" rtlCol="0">
            <a:spAutoFit/>
          </a:bodyPr>
          <a:lstStyle/>
          <a:p>
            <a:r>
              <a:rPr lang="en-GB" dirty="0"/>
              <a:t>NOTE: We cannot break down SH due to the dynamic sizing of CE cabin.</a:t>
            </a:r>
          </a:p>
        </p:txBody>
      </p:sp>
    </p:spTree>
    <p:extLst>
      <p:ext uri="{BB962C8B-B14F-4D97-AF65-F5344CB8AC3E}">
        <p14:creationId xmlns:p14="http://schemas.microsoft.com/office/powerpoint/2010/main" val="40003092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959F975-21BC-F0F3-371E-3EDE523C2F77}"/>
              </a:ext>
            </a:extLst>
          </p:cNvPr>
          <p:cNvSpPr>
            <a:spLocks noGrp="1"/>
          </p:cNvSpPr>
          <p:nvPr>
            <p:ph idx="14"/>
          </p:nvPr>
        </p:nvSpPr>
        <p:spPr>
          <a:xfrm>
            <a:off x="505610" y="1708746"/>
            <a:ext cx="5291667" cy="4584478"/>
          </a:xfrm>
        </p:spPr>
        <p:txBody>
          <a:bodyPr lIns="91440" tIns="45720" rIns="91440" bIns="45720" anchor="t"/>
          <a:lstStyle/>
          <a:p>
            <a:pPr marL="285750" indent="-285750">
              <a:buFont typeface="Arial,Sans-Serif"/>
              <a:buChar char="•"/>
            </a:pPr>
            <a:r>
              <a:rPr lang="en-US" b="0">
                <a:latin typeface="Mylius Modern"/>
              </a:rPr>
              <a:t>small number of flights in region</a:t>
            </a:r>
          </a:p>
          <a:p>
            <a:pPr marL="285750" indent="-285750">
              <a:buFont typeface="Arial,Sans-Serif"/>
              <a:buChar char="•"/>
            </a:pPr>
            <a:r>
              <a:rPr lang="en-US" b="0">
                <a:latin typeface="Mylius Modern"/>
              </a:rPr>
              <a:t>New possible route</a:t>
            </a:r>
          </a:p>
          <a:p>
            <a:pPr marL="285750" indent="-285750">
              <a:buFont typeface="Arial,Sans-Serif"/>
              <a:buChar char="•"/>
            </a:pPr>
            <a:r>
              <a:rPr lang="en-US" b="0" dirty="0">
                <a:latin typeface="Mylius Modern"/>
              </a:rPr>
              <a:t>However, we need more granular results for North America and </a:t>
            </a:r>
            <a:r>
              <a:rPr lang="en-US" b="0">
                <a:latin typeface="Mylius Modern"/>
              </a:rPr>
              <a:t>SH</a:t>
            </a:r>
          </a:p>
        </p:txBody>
      </p:sp>
      <p:sp>
        <p:nvSpPr>
          <p:cNvPr id="3" name="Title 2">
            <a:extLst>
              <a:ext uri="{FF2B5EF4-FFF2-40B4-BE49-F238E27FC236}">
                <a16:creationId xmlns:a16="http://schemas.microsoft.com/office/drawing/2014/main" id="{947F78C5-9F29-040A-3CE6-31659B571E19}"/>
              </a:ext>
            </a:extLst>
          </p:cNvPr>
          <p:cNvSpPr>
            <a:spLocks noGrp="1"/>
          </p:cNvSpPr>
          <p:nvPr>
            <p:ph type="title"/>
          </p:nvPr>
        </p:nvSpPr>
        <p:spPr/>
        <p:txBody>
          <a:bodyPr lIns="91440" tIns="45720" rIns="91440" bIns="45720" anchor="t"/>
          <a:lstStyle/>
          <a:p>
            <a:r>
              <a:rPr lang="en-GB">
                <a:latin typeface="Mylius Modern"/>
              </a:rPr>
              <a:t>WHY BREAKDOWN BY CONTINENT (LH) AND COUNTRY GROUP (SH, NORTH AMERICA)</a:t>
            </a:r>
          </a:p>
        </p:txBody>
      </p:sp>
      <p:pic>
        <p:nvPicPr>
          <p:cNvPr id="6" name="Picture 5" descr="A graph of a bar chart&#10;&#10;Description automatically generated with medium confidence">
            <a:extLst>
              <a:ext uri="{FF2B5EF4-FFF2-40B4-BE49-F238E27FC236}">
                <a16:creationId xmlns:a16="http://schemas.microsoft.com/office/drawing/2014/main" id="{81C62EB6-4A3A-06EA-BC0C-3A44FB73D081}"/>
              </a:ext>
            </a:extLst>
          </p:cNvPr>
          <p:cNvPicPr>
            <a:picLocks noChangeAspect="1"/>
          </p:cNvPicPr>
          <p:nvPr/>
        </p:nvPicPr>
        <p:blipFill>
          <a:blip r:embed="rId3"/>
          <a:stretch>
            <a:fillRect/>
          </a:stretch>
        </p:blipFill>
        <p:spPr>
          <a:xfrm>
            <a:off x="8884408" y="1307058"/>
            <a:ext cx="3168372" cy="5199611"/>
          </a:xfrm>
          <a:prstGeom prst="rect">
            <a:avLst/>
          </a:prstGeom>
        </p:spPr>
      </p:pic>
      <p:pic>
        <p:nvPicPr>
          <p:cNvPr id="8" name="Picture 7" descr="A graph with numbers and a bar&#10;&#10;Description automatically generated">
            <a:extLst>
              <a:ext uri="{FF2B5EF4-FFF2-40B4-BE49-F238E27FC236}">
                <a16:creationId xmlns:a16="http://schemas.microsoft.com/office/drawing/2014/main" id="{349E6AEF-C048-985B-1488-C90990DCEE1A}"/>
              </a:ext>
            </a:extLst>
          </p:cNvPr>
          <p:cNvPicPr>
            <a:picLocks noChangeAspect="1"/>
          </p:cNvPicPr>
          <p:nvPr/>
        </p:nvPicPr>
        <p:blipFill>
          <a:blip r:embed="rId4"/>
          <a:stretch>
            <a:fillRect/>
          </a:stretch>
        </p:blipFill>
        <p:spPr>
          <a:xfrm>
            <a:off x="5809247" y="1249145"/>
            <a:ext cx="2960732" cy="5300133"/>
          </a:xfrm>
          <a:prstGeom prst="rect">
            <a:avLst/>
          </a:prstGeom>
        </p:spPr>
      </p:pic>
    </p:spTree>
    <p:extLst>
      <p:ext uri="{BB962C8B-B14F-4D97-AF65-F5344CB8AC3E}">
        <p14:creationId xmlns:p14="http://schemas.microsoft.com/office/powerpoint/2010/main" val="23949823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6505FB-8EB9-E8AE-CB9E-6A1C1D1E99ED}"/>
              </a:ext>
            </a:extLst>
          </p:cNvPr>
          <p:cNvSpPr>
            <a:spLocks noGrp="1"/>
          </p:cNvSpPr>
          <p:nvPr>
            <p:ph type="ctrTitle"/>
          </p:nvPr>
        </p:nvSpPr>
        <p:spPr>
          <a:xfrm>
            <a:off x="371475" y="2619351"/>
            <a:ext cx="8379069" cy="2387600"/>
          </a:xfrm>
        </p:spPr>
        <p:txBody>
          <a:bodyPr lIns="91440" tIns="45720" rIns="91440" bIns="45720" anchor="ctr">
            <a:normAutofit/>
          </a:bodyPr>
          <a:lstStyle/>
          <a:p>
            <a:r>
              <a:rPr lang="en-US">
                <a:latin typeface="Mylius Modern"/>
              </a:rPr>
              <a:t>Design Limitations </a:t>
            </a:r>
            <a:br>
              <a:rPr lang="en-US">
                <a:latin typeface="Mylius Modern"/>
              </a:rPr>
            </a:br>
            <a:r>
              <a:rPr lang="en-US">
                <a:latin typeface="Mylius Modern"/>
              </a:rPr>
              <a:t>&amp; Further Exploration  </a:t>
            </a:r>
          </a:p>
        </p:txBody>
      </p:sp>
      <p:sp>
        <p:nvSpPr>
          <p:cNvPr id="3" name="Subtitle 2">
            <a:extLst>
              <a:ext uri="{FF2B5EF4-FFF2-40B4-BE49-F238E27FC236}">
                <a16:creationId xmlns:a16="http://schemas.microsoft.com/office/drawing/2014/main" id="{1E2D5003-E176-AFE6-2291-C0E695DDF099}"/>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1490966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23B7DA2-DE60-213C-D098-B173514E6B41}"/>
              </a:ext>
            </a:extLst>
          </p:cNvPr>
          <p:cNvSpPr>
            <a:spLocks noGrp="1"/>
          </p:cNvSpPr>
          <p:nvPr>
            <p:ph type="body" idx="1"/>
          </p:nvPr>
        </p:nvSpPr>
        <p:spPr/>
        <p:txBody>
          <a:bodyPr lIns="91440" tIns="108000" rIns="91440" bIns="45720" anchor="ctr" anchorCtr="0">
            <a:noAutofit/>
          </a:bodyPr>
          <a:lstStyle/>
          <a:p>
            <a:r>
              <a:rPr lang="en-US">
                <a:latin typeface="Mylius Modern"/>
              </a:rPr>
              <a:t>Limitations</a:t>
            </a:r>
            <a:endParaRPr lang="en-US"/>
          </a:p>
        </p:txBody>
      </p:sp>
      <p:sp>
        <p:nvSpPr>
          <p:cNvPr id="2" name="Content Placeholder 1">
            <a:extLst>
              <a:ext uri="{FF2B5EF4-FFF2-40B4-BE49-F238E27FC236}">
                <a16:creationId xmlns:a16="http://schemas.microsoft.com/office/drawing/2014/main" id="{89831E09-B845-10DA-C8DD-D2022A373DC4}"/>
              </a:ext>
            </a:extLst>
          </p:cNvPr>
          <p:cNvSpPr>
            <a:spLocks noGrp="1"/>
          </p:cNvSpPr>
          <p:nvPr>
            <p:ph idx="11"/>
          </p:nvPr>
        </p:nvSpPr>
        <p:spPr/>
        <p:txBody>
          <a:bodyPr lIns="91440" tIns="45720" rIns="91440" bIns="45720" anchor="t"/>
          <a:lstStyle/>
          <a:p>
            <a:pPr marL="285750" indent="-285750">
              <a:buChar char="•"/>
            </a:pPr>
            <a:r>
              <a:rPr lang="en-US">
                <a:latin typeface="Mylius Modern"/>
              </a:rPr>
              <a:t>Peak week for 2025 unknown</a:t>
            </a:r>
            <a:endParaRPr lang="en-US"/>
          </a:p>
          <a:p>
            <a:pPr marL="285750" indent="-285750">
              <a:buChar char="•"/>
            </a:pPr>
            <a:r>
              <a:rPr lang="en-US">
                <a:latin typeface="Mylius Modern"/>
              </a:rPr>
              <a:t>No Winter</a:t>
            </a:r>
            <a:r>
              <a:rPr lang="en-US" b="0">
                <a:latin typeface="Mylius Modern"/>
              </a:rPr>
              <a:t> data</a:t>
            </a:r>
          </a:p>
          <a:p>
            <a:pPr marL="285750" indent="-285750">
              <a:buChar char="•"/>
            </a:pPr>
            <a:r>
              <a:rPr lang="en-US">
                <a:latin typeface="Mylius Modern"/>
              </a:rPr>
              <a:t>Cannot accommodate significant cabin size changes</a:t>
            </a:r>
            <a:endParaRPr lang="en-US" b="0"/>
          </a:p>
          <a:p>
            <a:pPr marL="285750" indent="-285750">
              <a:buChar char="•"/>
            </a:pPr>
            <a:endParaRPr lang="en-US" b="0"/>
          </a:p>
          <a:p>
            <a:pPr marL="285750" indent="-285750">
              <a:buChar char="•"/>
            </a:pPr>
            <a:endParaRPr lang="en-US" b="0"/>
          </a:p>
          <a:p>
            <a:pPr marL="285750" indent="-285750">
              <a:buChar char="•"/>
            </a:pPr>
            <a:endParaRPr lang="en-US" b="0"/>
          </a:p>
        </p:txBody>
      </p:sp>
      <p:sp>
        <p:nvSpPr>
          <p:cNvPr id="3" name="Content Placeholder 2">
            <a:extLst>
              <a:ext uri="{FF2B5EF4-FFF2-40B4-BE49-F238E27FC236}">
                <a16:creationId xmlns:a16="http://schemas.microsoft.com/office/drawing/2014/main" id="{7C56B330-EEB5-9B56-76DB-779A5397ECCA}"/>
              </a:ext>
            </a:extLst>
          </p:cNvPr>
          <p:cNvSpPr>
            <a:spLocks noGrp="1"/>
          </p:cNvSpPr>
          <p:nvPr>
            <p:ph idx="12"/>
          </p:nvPr>
        </p:nvSpPr>
        <p:spPr/>
        <p:txBody>
          <a:bodyPr lIns="91440" tIns="45720" rIns="91440" bIns="45720" anchor="t"/>
          <a:lstStyle/>
          <a:p>
            <a:pPr marL="285750" indent="-285750">
              <a:buChar char="•"/>
            </a:pPr>
            <a:r>
              <a:rPr lang="en-US">
                <a:latin typeface="Mylius Modern"/>
              </a:rPr>
              <a:t>Departure the time of the day</a:t>
            </a:r>
          </a:p>
          <a:p>
            <a:pPr marL="285750" indent="-285750">
              <a:buChar char="•"/>
            </a:pPr>
            <a:r>
              <a:rPr lang="en-US">
                <a:latin typeface="Mylius Modern"/>
              </a:rPr>
              <a:t>Status vs Eligibility</a:t>
            </a:r>
          </a:p>
          <a:p>
            <a:pPr marL="285750" indent="-285750">
              <a:buChar char="•"/>
            </a:pPr>
            <a:r>
              <a:rPr lang="en-US">
                <a:latin typeface="Mylius Modern"/>
              </a:rPr>
              <a:t>Connecting Traffic</a:t>
            </a:r>
            <a:endParaRPr lang="en-US"/>
          </a:p>
          <a:p>
            <a:pPr marL="285750" indent="-285750">
              <a:buChar char="•"/>
            </a:pPr>
            <a:endParaRPr lang="en-US"/>
          </a:p>
          <a:p>
            <a:pPr marL="285750" indent="-285750">
              <a:buChar char="•"/>
            </a:pPr>
            <a:endParaRPr lang="en-US"/>
          </a:p>
          <a:p>
            <a:pPr marL="285750" indent="-285750">
              <a:buChar char="•"/>
            </a:pPr>
            <a:endParaRPr lang="en-US"/>
          </a:p>
        </p:txBody>
      </p:sp>
      <p:sp>
        <p:nvSpPr>
          <p:cNvPr id="4" name="Title 3">
            <a:extLst>
              <a:ext uri="{FF2B5EF4-FFF2-40B4-BE49-F238E27FC236}">
                <a16:creationId xmlns:a16="http://schemas.microsoft.com/office/drawing/2014/main" id="{8BFE73F3-0D78-6D95-0230-12217F89A777}"/>
              </a:ext>
            </a:extLst>
          </p:cNvPr>
          <p:cNvSpPr>
            <a:spLocks noGrp="1"/>
          </p:cNvSpPr>
          <p:nvPr>
            <p:ph type="title"/>
          </p:nvPr>
        </p:nvSpPr>
        <p:spPr/>
        <p:txBody>
          <a:bodyPr lIns="91440" tIns="45720" rIns="91440" bIns="45720" anchor="t"/>
          <a:lstStyle/>
          <a:p>
            <a:r>
              <a:rPr lang="en-US">
                <a:latin typeface="Mylius Modern"/>
              </a:rPr>
              <a:t>Limitations and Further Exploration</a:t>
            </a:r>
            <a:endParaRPr lang="en-US"/>
          </a:p>
        </p:txBody>
      </p:sp>
      <p:sp>
        <p:nvSpPr>
          <p:cNvPr id="6" name="Text Placeholder 5">
            <a:extLst>
              <a:ext uri="{FF2B5EF4-FFF2-40B4-BE49-F238E27FC236}">
                <a16:creationId xmlns:a16="http://schemas.microsoft.com/office/drawing/2014/main" id="{65659FA7-55DE-E208-6AE6-FD1FAF4A6BF8}"/>
              </a:ext>
            </a:extLst>
          </p:cNvPr>
          <p:cNvSpPr>
            <a:spLocks noGrp="1"/>
          </p:cNvSpPr>
          <p:nvPr>
            <p:ph type="body" idx="13"/>
          </p:nvPr>
        </p:nvSpPr>
        <p:spPr/>
        <p:txBody>
          <a:bodyPr lIns="91440" tIns="108000" rIns="91440" bIns="45720" anchor="ctr" anchorCtr="0">
            <a:noAutofit/>
          </a:bodyPr>
          <a:lstStyle/>
          <a:p>
            <a:r>
              <a:rPr lang="en-US">
                <a:latin typeface="Mylius Modern"/>
              </a:rPr>
              <a:t>Further Exploration</a:t>
            </a:r>
            <a:endParaRPr lang="en-US"/>
          </a:p>
        </p:txBody>
      </p:sp>
      <p:sp>
        <p:nvSpPr>
          <p:cNvPr id="7" name="Text Placeholder 6">
            <a:extLst>
              <a:ext uri="{FF2B5EF4-FFF2-40B4-BE49-F238E27FC236}">
                <a16:creationId xmlns:a16="http://schemas.microsoft.com/office/drawing/2014/main" id="{D18EE4C7-CBE8-895A-9CFF-49E5AFA57EF8}"/>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42774327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6505FB-8EB9-E8AE-CB9E-6A1C1D1E99ED}"/>
              </a:ext>
            </a:extLst>
          </p:cNvPr>
          <p:cNvSpPr>
            <a:spLocks noGrp="1"/>
          </p:cNvSpPr>
          <p:nvPr>
            <p:ph type="ctrTitle"/>
          </p:nvPr>
        </p:nvSpPr>
        <p:spPr>
          <a:xfrm>
            <a:off x="371475" y="2619351"/>
            <a:ext cx="10162413" cy="2387600"/>
          </a:xfrm>
        </p:spPr>
        <p:txBody>
          <a:bodyPr lIns="91440" tIns="45720" rIns="91440" bIns="45720" anchor="ctr">
            <a:normAutofit/>
          </a:bodyPr>
          <a:lstStyle/>
          <a:p>
            <a:r>
              <a:rPr lang="en-US" dirty="0">
                <a:latin typeface="Mylius Modern"/>
              </a:rPr>
              <a:t>Should a tier 1 lounge be built in terminal 3?</a:t>
            </a:r>
            <a:endParaRPr lang="en-US" dirty="0"/>
          </a:p>
        </p:txBody>
      </p:sp>
      <p:sp>
        <p:nvSpPr>
          <p:cNvPr id="3" name="Subtitle 2">
            <a:extLst>
              <a:ext uri="{FF2B5EF4-FFF2-40B4-BE49-F238E27FC236}">
                <a16:creationId xmlns:a16="http://schemas.microsoft.com/office/drawing/2014/main" id="{1E2D5003-E176-AFE6-2291-C0E695DDF099}"/>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630551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ACAE11-3E2A-390A-9137-6193F6C70180}"/>
              </a:ext>
            </a:extLst>
          </p:cNvPr>
          <p:cNvSpPr>
            <a:spLocks noGrp="1"/>
          </p:cNvSpPr>
          <p:nvPr>
            <p:ph type="title"/>
          </p:nvPr>
        </p:nvSpPr>
        <p:spPr>
          <a:xfrm>
            <a:off x="343672" y="298938"/>
            <a:ext cx="9537746" cy="659423"/>
          </a:xfrm>
        </p:spPr>
        <p:txBody>
          <a:bodyPr>
            <a:normAutofit/>
          </a:bodyPr>
          <a:lstStyle/>
          <a:p>
            <a:r>
              <a:rPr lang="en-GB"/>
              <a:t>Recommendations: Tier 1 Lounge in Terminal 3?</a:t>
            </a:r>
          </a:p>
        </p:txBody>
      </p:sp>
      <p:pic>
        <p:nvPicPr>
          <p:cNvPr id="9" name="Picture 8">
            <a:extLst>
              <a:ext uri="{FF2B5EF4-FFF2-40B4-BE49-F238E27FC236}">
                <a16:creationId xmlns:a16="http://schemas.microsoft.com/office/drawing/2014/main" id="{C2CF851A-CBD1-18EE-A146-2F471A00134B}"/>
              </a:ext>
            </a:extLst>
          </p:cNvPr>
          <p:cNvPicPr>
            <a:picLocks noChangeAspect="1"/>
          </p:cNvPicPr>
          <p:nvPr/>
        </p:nvPicPr>
        <p:blipFill>
          <a:blip r:embed="rId3"/>
          <a:stretch>
            <a:fillRect/>
          </a:stretch>
        </p:blipFill>
        <p:spPr>
          <a:xfrm>
            <a:off x="41564" y="1053175"/>
            <a:ext cx="8454044" cy="1200858"/>
          </a:xfrm>
          <a:prstGeom prst="rect">
            <a:avLst/>
          </a:prstGeom>
        </p:spPr>
      </p:pic>
      <p:pic>
        <p:nvPicPr>
          <p:cNvPr id="14" name="Picture 13">
            <a:extLst>
              <a:ext uri="{FF2B5EF4-FFF2-40B4-BE49-F238E27FC236}">
                <a16:creationId xmlns:a16="http://schemas.microsoft.com/office/drawing/2014/main" id="{EF625736-2F4A-AD54-0E6A-570C47897C01}"/>
              </a:ext>
            </a:extLst>
          </p:cNvPr>
          <p:cNvPicPr>
            <a:picLocks noChangeAspect="1"/>
          </p:cNvPicPr>
          <p:nvPr/>
        </p:nvPicPr>
        <p:blipFill rotWithShape="1">
          <a:blip r:embed="rId4"/>
          <a:srcRect t="5149" b="1"/>
          <a:stretch/>
        </p:blipFill>
        <p:spPr>
          <a:xfrm>
            <a:off x="73673" y="2196447"/>
            <a:ext cx="8514759" cy="953850"/>
          </a:xfrm>
          <a:prstGeom prst="rect">
            <a:avLst/>
          </a:prstGeom>
        </p:spPr>
      </p:pic>
      <p:pic>
        <p:nvPicPr>
          <p:cNvPr id="6" name="Picture 5" descr="A graph with a line going up&#10;&#10;Description automatically generated">
            <a:extLst>
              <a:ext uri="{FF2B5EF4-FFF2-40B4-BE49-F238E27FC236}">
                <a16:creationId xmlns:a16="http://schemas.microsoft.com/office/drawing/2014/main" id="{4FD0F368-3347-852D-0CC5-62027ED6A127}"/>
              </a:ext>
            </a:extLst>
          </p:cNvPr>
          <p:cNvPicPr>
            <a:picLocks noChangeAspect="1"/>
          </p:cNvPicPr>
          <p:nvPr/>
        </p:nvPicPr>
        <p:blipFill>
          <a:blip r:embed="rId5"/>
          <a:stretch>
            <a:fillRect/>
          </a:stretch>
        </p:blipFill>
        <p:spPr>
          <a:xfrm>
            <a:off x="6990842" y="3492119"/>
            <a:ext cx="4762745" cy="2978303"/>
          </a:xfrm>
          <a:prstGeom prst="rect">
            <a:avLst/>
          </a:prstGeom>
        </p:spPr>
      </p:pic>
      <p:sp>
        <p:nvSpPr>
          <p:cNvPr id="8" name="TextBox 7">
            <a:extLst>
              <a:ext uri="{FF2B5EF4-FFF2-40B4-BE49-F238E27FC236}">
                <a16:creationId xmlns:a16="http://schemas.microsoft.com/office/drawing/2014/main" id="{36FDF3A7-EC5C-1C1B-A806-49EE89F41826}"/>
              </a:ext>
            </a:extLst>
          </p:cNvPr>
          <p:cNvSpPr txBox="1"/>
          <p:nvPr/>
        </p:nvSpPr>
        <p:spPr>
          <a:xfrm>
            <a:off x="8746067" y="1422771"/>
            <a:ext cx="6096000" cy="461665"/>
          </a:xfrm>
          <a:prstGeom prst="rect">
            <a:avLst/>
          </a:prstGeom>
          <a:noFill/>
        </p:spPr>
        <p:txBody>
          <a:bodyPr wrap="square">
            <a:spAutoFit/>
          </a:bodyPr>
          <a:lstStyle/>
          <a:p>
            <a:pPr marL="285750" indent="-285750">
              <a:buChar char="•"/>
            </a:pPr>
            <a:r>
              <a:rPr lang="en-US" sz="1200" b="0">
                <a:solidFill>
                  <a:srgbClr val="DF9613"/>
                </a:solidFill>
                <a:latin typeface="Mylius Modern"/>
              </a:rPr>
              <a:t>Orange: </a:t>
            </a:r>
            <a:r>
              <a:rPr lang="en-US" sz="1200" b="0">
                <a:latin typeface="Mylius Modern"/>
              </a:rPr>
              <a:t>% deriving access from cabin</a:t>
            </a:r>
            <a:endParaRPr lang="en-US" sz="1200" b="0"/>
          </a:p>
          <a:p>
            <a:pPr marL="285750" indent="-285750">
              <a:buChar char="•"/>
            </a:pPr>
            <a:r>
              <a:rPr lang="en-US" sz="1200" b="0">
                <a:solidFill>
                  <a:srgbClr val="0070C0"/>
                </a:solidFill>
                <a:latin typeface="Mylius Modern"/>
              </a:rPr>
              <a:t>Blue: </a:t>
            </a:r>
            <a:r>
              <a:rPr lang="en-US" sz="1200" b="0">
                <a:latin typeface="Mylius Modern"/>
              </a:rPr>
              <a:t>% deriving access from status </a:t>
            </a:r>
            <a:endParaRPr lang="en-US" sz="1200" b="0"/>
          </a:p>
        </p:txBody>
      </p:sp>
      <p:graphicFrame>
        <p:nvGraphicFramePr>
          <p:cNvPr id="2" name="Table 3">
            <a:extLst>
              <a:ext uri="{FF2B5EF4-FFF2-40B4-BE49-F238E27FC236}">
                <a16:creationId xmlns:a16="http://schemas.microsoft.com/office/drawing/2014/main" id="{D6690053-D673-767A-74D9-1DC60B021D8D}"/>
              </a:ext>
            </a:extLst>
          </p:cNvPr>
          <p:cNvGraphicFramePr>
            <a:graphicFrameLocks noGrp="1"/>
          </p:cNvGraphicFramePr>
          <p:nvPr>
            <p:extLst>
              <p:ext uri="{D42A27DB-BD31-4B8C-83A1-F6EECF244321}">
                <p14:modId xmlns:p14="http://schemas.microsoft.com/office/powerpoint/2010/main" val="1033208786"/>
              </p:ext>
            </p:extLst>
          </p:nvPr>
        </p:nvGraphicFramePr>
        <p:xfrm>
          <a:off x="228455" y="3992227"/>
          <a:ext cx="6636859" cy="1886412"/>
        </p:xfrm>
        <a:graphic>
          <a:graphicData uri="http://schemas.openxmlformats.org/drawingml/2006/table">
            <a:tbl>
              <a:tblPr firstRow="1" bandRow="1">
                <a:tableStyleId>{5C22544A-7EE6-4342-B048-85BDC9FD1C3A}</a:tableStyleId>
              </a:tblPr>
              <a:tblGrid>
                <a:gridCol w="804567">
                  <a:extLst>
                    <a:ext uri="{9D8B030D-6E8A-4147-A177-3AD203B41FA5}">
                      <a16:colId xmlns:a16="http://schemas.microsoft.com/office/drawing/2014/main" val="2808587874"/>
                    </a:ext>
                  </a:extLst>
                </a:gridCol>
                <a:gridCol w="1103409">
                  <a:extLst>
                    <a:ext uri="{9D8B030D-6E8A-4147-A177-3AD203B41FA5}">
                      <a16:colId xmlns:a16="http://schemas.microsoft.com/office/drawing/2014/main" val="4071787434"/>
                    </a:ext>
                  </a:extLst>
                </a:gridCol>
                <a:gridCol w="2098401">
                  <a:extLst>
                    <a:ext uri="{9D8B030D-6E8A-4147-A177-3AD203B41FA5}">
                      <a16:colId xmlns:a16="http://schemas.microsoft.com/office/drawing/2014/main" val="2291454680"/>
                    </a:ext>
                  </a:extLst>
                </a:gridCol>
                <a:gridCol w="2630482">
                  <a:extLst>
                    <a:ext uri="{9D8B030D-6E8A-4147-A177-3AD203B41FA5}">
                      <a16:colId xmlns:a16="http://schemas.microsoft.com/office/drawing/2014/main" val="3353685790"/>
                    </a:ext>
                  </a:extLst>
                </a:gridCol>
              </a:tblGrid>
              <a:tr h="403052">
                <a:tc>
                  <a:txBody>
                    <a:bodyPr/>
                    <a:lstStyle/>
                    <a:p>
                      <a:r>
                        <a:rPr lang="en-GB" dirty="0"/>
                        <a:t>Year</a:t>
                      </a:r>
                    </a:p>
                  </a:txBody>
                  <a:tcPr/>
                </a:tc>
                <a:tc>
                  <a:txBody>
                    <a:bodyPr/>
                    <a:lstStyle/>
                    <a:p>
                      <a:r>
                        <a:rPr lang="en-GB" dirty="0"/>
                        <a:t>Terminal</a:t>
                      </a:r>
                    </a:p>
                  </a:txBody>
                  <a:tcPr/>
                </a:tc>
                <a:tc>
                  <a:txBody>
                    <a:bodyPr/>
                    <a:lstStyle/>
                    <a:p>
                      <a:r>
                        <a:rPr lang="en-GB" dirty="0"/>
                        <a:t>Tier 1 eligibility %</a:t>
                      </a:r>
                    </a:p>
                  </a:txBody>
                  <a:tcPr/>
                </a:tc>
                <a:tc>
                  <a:txBody>
                    <a:bodyPr/>
                    <a:lstStyle/>
                    <a:p>
                      <a:r>
                        <a:rPr lang="en-GB"/>
                        <a:t>Daily Tier 1 eligibility</a:t>
                      </a:r>
                    </a:p>
                  </a:txBody>
                  <a:tcPr/>
                </a:tc>
                <a:extLst>
                  <a:ext uri="{0D108BD9-81ED-4DB2-BD59-A6C34878D82A}">
                    <a16:rowId xmlns:a16="http://schemas.microsoft.com/office/drawing/2014/main" val="2217900881"/>
                  </a:ext>
                </a:extLst>
              </a:tr>
              <a:tr h="370840">
                <a:tc>
                  <a:txBody>
                    <a:bodyPr/>
                    <a:lstStyle/>
                    <a:p>
                      <a:r>
                        <a:rPr lang="en-GB" dirty="0"/>
                        <a:t>2019</a:t>
                      </a:r>
                    </a:p>
                  </a:txBody>
                  <a:tcPr/>
                </a:tc>
                <a:tc>
                  <a:txBody>
                    <a:bodyPr/>
                    <a:lstStyle/>
                    <a:p>
                      <a:r>
                        <a:rPr lang="en-GB" dirty="0"/>
                        <a:t>3</a:t>
                      </a:r>
                    </a:p>
                  </a:txBody>
                  <a:tcPr/>
                </a:tc>
                <a:tc>
                  <a:txBody>
                    <a:bodyPr/>
                    <a:lstStyle/>
                    <a:p>
                      <a:r>
                        <a:rPr lang="en-GB"/>
                        <a:t>1.55%</a:t>
                      </a:r>
                    </a:p>
                  </a:txBody>
                  <a:tcPr/>
                </a:tc>
                <a:tc>
                  <a:txBody>
                    <a:bodyPr/>
                    <a:lstStyle/>
                    <a:p>
                      <a:r>
                        <a:rPr lang="en-GB"/>
                        <a:t>125</a:t>
                      </a:r>
                    </a:p>
                  </a:txBody>
                  <a:tcPr/>
                </a:tc>
                <a:extLst>
                  <a:ext uri="{0D108BD9-81ED-4DB2-BD59-A6C34878D82A}">
                    <a16:rowId xmlns:a16="http://schemas.microsoft.com/office/drawing/2014/main" val="1995026203"/>
                  </a:ext>
                </a:extLst>
              </a:tr>
              <a:tr h="370840">
                <a:tc>
                  <a:txBody>
                    <a:bodyPr/>
                    <a:lstStyle/>
                    <a:p>
                      <a:r>
                        <a:rPr lang="en-GB" dirty="0"/>
                        <a:t>2019</a:t>
                      </a:r>
                    </a:p>
                  </a:txBody>
                  <a:tcPr>
                    <a:lnB w="76200" cap="flat" cmpd="sng" algn="ctr">
                      <a:solidFill>
                        <a:schemeClr val="tx1"/>
                      </a:solidFill>
                      <a:prstDash val="solid"/>
                      <a:round/>
                      <a:headEnd type="none" w="med" len="med"/>
                      <a:tailEnd type="none" w="med" len="med"/>
                    </a:lnB>
                  </a:tcPr>
                </a:tc>
                <a:tc>
                  <a:txBody>
                    <a:bodyPr/>
                    <a:lstStyle/>
                    <a:p>
                      <a:r>
                        <a:rPr lang="en-GB" dirty="0"/>
                        <a:t>5</a:t>
                      </a:r>
                    </a:p>
                  </a:txBody>
                  <a:tcPr>
                    <a:lnB w="76200" cap="flat" cmpd="sng" algn="ctr">
                      <a:solidFill>
                        <a:schemeClr val="tx1"/>
                      </a:solidFill>
                      <a:prstDash val="solid"/>
                      <a:round/>
                      <a:headEnd type="none" w="med" len="med"/>
                      <a:tailEnd type="none" w="med" len="med"/>
                    </a:lnB>
                  </a:tcPr>
                </a:tc>
                <a:tc>
                  <a:txBody>
                    <a:bodyPr/>
                    <a:lstStyle/>
                    <a:p>
                      <a:r>
                        <a:rPr lang="en-GB"/>
                        <a:t>1.84%</a:t>
                      </a:r>
                    </a:p>
                  </a:txBody>
                  <a:tcPr>
                    <a:lnB w="76200" cap="flat" cmpd="sng" algn="ctr">
                      <a:solidFill>
                        <a:schemeClr val="tx1"/>
                      </a:solidFill>
                      <a:prstDash val="solid"/>
                      <a:round/>
                      <a:headEnd type="none" w="med" len="med"/>
                      <a:tailEnd type="none" w="med" len="med"/>
                    </a:lnB>
                  </a:tcPr>
                </a:tc>
                <a:tc>
                  <a:txBody>
                    <a:bodyPr/>
                    <a:lstStyle/>
                    <a:p>
                      <a:r>
                        <a:rPr lang="en-GB"/>
                        <a:t>809</a:t>
                      </a:r>
                    </a:p>
                  </a:txBody>
                  <a:tcPr>
                    <a:lnB w="762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89025550"/>
                  </a:ext>
                </a:extLst>
              </a:tr>
              <a:tr h="370840">
                <a:tc>
                  <a:txBody>
                    <a:bodyPr/>
                    <a:lstStyle/>
                    <a:p>
                      <a:r>
                        <a:rPr lang="en-GB" dirty="0"/>
                        <a:t>2023</a:t>
                      </a:r>
                    </a:p>
                  </a:txBody>
                  <a:tcPr>
                    <a:lnT w="76200" cap="flat" cmpd="sng" algn="ctr">
                      <a:solidFill>
                        <a:schemeClr val="tx1"/>
                      </a:solidFill>
                      <a:prstDash val="solid"/>
                      <a:round/>
                      <a:headEnd type="none" w="med" len="med"/>
                      <a:tailEnd type="none" w="med" len="med"/>
                    </a:lnT>
                  </a:tcPr>
                </a:tc>
                <a:tc>
                  <a:txBody>
                    <a:bodyPr/>
                    <a:lstStyle/>
                    <a:p>
                      <a:r>
                        <a:rPr lang="en-GB" dirty="0"/>
                        <a:t>3</a:t>
                      </a:r>
                    </a:p>
                  </a:txBody>
                  <a:tcPr>
                    <a:lnT w="76200" cap="flat" cmpd="sng" algn="ctr">
                      <a:solidFill>
                        <a:schemeClr val="tx1"/>
                      </a:solidFill>
                      <a:prstDash val="solid"/>
                      <a:round/>
                      <a:headEnd type="none" w="med" len="med"/>
                      <a:tailEnd type="none" w="med" len="med"/>
                    </a:lnT>
                  </a:tcPr>
                </a:tc>
                <a:tc>
                  <a:txBody>
                    <a:bodyPr/>
                    <a:lstStyle/>
                    <a:p>
                      <a:r>
                        <a:rPr lang="en-GB"/>
                        <a:t>0.41%</a:t>
                      </a:r>
                    </a:p>
                  </a:txBody>
                  <a:tcPr>
                    <a:lnT w="76200" cap="flat" cmpd="sng" algn="ctr">
                      <a:solidFill>
                        <a:schemeClr val="tx1"/>
                      </a:solidFill>
                      <a:prstDash val="solid"/>
                      <a:round/>
                      <a:headEnd type="none" w="med" len="med"/>
                      <a:tailEnd type="none" w="med" len="med"/>
                    </a:lnT>
                  </a:tcPr>
                </a:tc>
                <a:tc>
                  <a:txBody>
                    <a:bodyPr/>
                    <a:lstStyle/>
                    <a:p>
                      <a:r>
                        <a:rPr lang="en-GB"/>
                        <a:t>19</a:t>
                      </a:r>
                    </a:p>
                  </a:txBody>
                  <a:tcPr>
                    <a:lnT w="762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742031227"/>
                  </a:ext>
                </a:extLst>
              </a:tr>
              <a:tr h="370840">
                <a:tc>
                  <a:txBody>
                    <a:bodyPr/>
                    <a:lstStyle/>
                    <a:p>
                      <a:r>
                        <a:rPr lang="en-GB" dirty="0"/>
                        <a:t>2023</a:t>
                      </a:r>
                    </a:p>
                  </a:txBody>
                  <a:tcPr/>
                </a:tc>
                <a:tc>
                  <a:txBody>
                    <a:bodyPr/>
                    <a:lstStyle/>
                    <a:p>
                      <a:r>
                        <a:rPr lang="en-GB" dirty="0"/>
                        <a:t>5</a:t>
                      </a:r>
                    </a:p>
                  </a:txBody>
                  <a:tcPr/>
                </a:tc>
                <a:tc>
                  <a:txBody>
                    <a:bodyPr/>
                    <a:lstStyle/>
                    <a:p>
                      <a:r>
                        <a:rPr lang="en-GB"/>
                        <a:t>1.02%</a:t>
                      </a:r>
                    </a:p>
                  </a:txBody>
                  <a:tcPr/>
                </a:tc>
                <a:tc>
                  <a:txBody>
                    <a:bodyPr/>
                    <a:lstStyle/>
                    <a:p>
                      <a:r>
                        <a:rPr lang="en-GB" dirty="0"/>
                        <a:t>455</a:t>
                      </a:r>
                    </a:p>
                  </a:txBody>
                  <a:tcPr/>
                </a:tc>
                <a:extLst>
                  <a:ext uri="{0D108BD9-81ED-4DB2-BD59-A6C34878D82A}">
                    <a16:rowId xmlns:a16="http://schemas.microsoft.com/office/drawing/2014/main" val="1836004417"/>
                  </a:ext>
                </a:extLst>
              </a:tr>
            </a:tbl>
          </a:graphicData>
        </a:graphic>
      </p:graphicFrame>
    </p:spTree>
    <p:extLst>
      <p:ext uri="{BB962C8B-B14F-4D97-AF65-F5344CB8AC3E}">
        <p14:creationId xmlns:p14="http://schemas.microsoft.com/office/powerpoint/2010/main" val="24537613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6C5419A-5FE2-4B72-A316-3BF407B139CA}"/>
              </a:ext>
            </a:extLst>
          </p:cNvPr>
          <p:cNvSpPr>
            <a:spLocks noGrp="1"/>
          </p:cNvSpPr>
          <p:nvPr>
            <p:ph type="title"/>
          </p:nvPr>
        </p:nvSpPr>
        <p:spPr/>
        <p:txBody>
          <a:bodyPr lIns="91440" tIns="45720" rIns="91440" bIns="45720" anchor="t"/>
          <a:lstStyle/>
          <a:p>
            <a:r>
              <a:rPr lang="en-GB">
                <a:latin typeface="Mylius Modern"/>
              </a:rPr>
              <a:t>Did you know?</a:t>
            </a:r>
            <a:endParaRPr lang="en-GB"/>
          </a:p>
        </p:txBody>
      </p:sp>
      <p:pic>
        <p:nvPicPr>
          <p:cNvPr id="42" name="Content Placeholder 41">
            <a:extLst>
              <a:ext uri="{FF2B5EF4-FFF2-40B4-BE49-F238E27FC236}">
                <a16:creationId xmlns:a16="http://schemas.microsoft.com/office/drawing/2014/main" id="{C4BD7135-A5C4-16BE-0079-E9EE4E7589C5}"/>
              </a:ext>
            </a:extLst>
          </p:cNvPr>
          <p:cNvPicPr>
            <a:picLocks noGrp="1" noChangeAspect="1"/>
          </p:cNvPicPr>
          <p:nvPr>
            <p:ph idx="1"/>
          </p:nvPr>
        </p:nvPicPr>
        <p:blipFill>
          <a:blip r:embed="rId3"/>
          <a:stretch>
            <a:fillRect/>
          </a:stretch>
        </p:blipFill>
        <p:spPr>
          <a:xfrm>
            <a:off x="1752242" y="1075262"/>
            <a:ext cx="7775093" cy="5668107"/>
          </a:xfrm>
        </p:spPr>
      </p:pic>
      <p:sp>
        <p:nvSpPr>
          <p:cNvPr id="16" name="Oval 15">
            <a:extLst>
              <a:ext uri="{FF2B5EF4-FFF2-40B4-BE49-F238E27FC236}">
                <a16:creationId xmlns:a16="http://schemas.microsoft.com/office/drawing/2014/main" id="{E4250A28-5DEF-5035-0C1B-B3214A897AF0}"/>
              </a:ext>
            </a:extLst>
          </p:cNvPr>
          <p:cNvSpPr/>
          <p:nvPr/>
        </p:nvSpPr>
        <p:spPr>
          <a:xfrm>
            <a:off x="7248939" y="4419600"/>
            <a:ext cx="540000" cy="540000"/>
          </a:xfrm>
          <a:prstGeom prst="ellipse">
            <a:avLst/>
          </a:prstGeom>
          <a:noFill/>
          <a:ln w="76200">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796788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6592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2D8EEE-0FA6-ECCF-5400-B339653AA3E8}"/>
              </a:ext>
            </a:extLst>
          </p:cNvPr>
          <p:cNvSpPr>
            <a:spLocks noGrp="1"/>
          </p:cNvSpPr>
          <p:nvPr>
            <p:ph type="title"/>
          </p:nvPr>
        </p:nvSpPr>
        <p:spPr>
          <a:xfrm>
            <a:off x="343672" y="298938"/>
            <a:ext cx="9537746" cy="659423"/>
          </a:xfrm>
          <a:prstGeom prst="rect">
            <a:avLst/>
          </a:prstGeom>
        </p:spPr>
        <p:txBody>
          <a:bodyPr/>
          <a:lstStyle/>
          <a:p>
            <a:r>
              <a:rPr lang="en-US"/>
              <a:t>STRUCTURE</a:t>
            </a:r>
          </a:p>
        </p:txBody>
      </p:sp>
      <p:sp>
        <p:nvSpPr>
          <p:cNvPr id="3" name="Text Placeholder 2">
            <a:extLst>
              <a:ext uri="{FF2B5EF4-FFF2-40B4-BE49-F238E27FC236}">
                <a16:creationId xmlns:a16="http://schemas.microsoft.com/office/drawing/2014/main" id="{53AE0CBA-D41E-FB6A-D94C-CD4B08FE898C}"/>
              </a:ext>
            </a:extLst>
          </p:cNvPr>
          <p:cNvSpPr>
            <a:spLocks noGrp="1"/>
          </p:cNvSpPr>
          <p:nvPr>
            <p:ph type="body" sz="quarter" idx="4294967295"/>
          </p:nvPr>
        </p:nvSpPr>
        <p:spPr>
          <a:xfrm>
            <a:off x="3041433" y="1687492"/>
            <a:ext cx="8805999" cy="780125"/>
          </a:xfrm>
          <a:prstGeom prst="rect">
            <a:avLst/>
          </a:prstGeom>
        </p:spPr>
        <p:txBody>
          <a:bodyPr lIns="288000" tIns="45720" rIns="91440" bIns="45720" anchor="ctr" anchorCtr="0"/>
          <a:lstStyle/>
          <a:p>
            <a:pPr marL="0" indent="0">
              <a:buNone/>
            </a:pPr>
            <a:r>
              <a:rPr lang="en-US" dirty="0">
                <a:solidFill>
                  <a:schemeClr val="bg1"/>
                </a:solidFill>
              </a:rPr>
              <a:t>ASSUMPTIONS</a:t>
            </a:r>
          </a:p>
        </p:txBody>
      </p:sp>
      <p:sp>
        <p:nvSpPr>
          <p:cNvPr id="4" name="Text Placeholder 3">
            <a:extLst>
              <a:ext uri="{FF2B5EF4-FFF2-40B4-BE49-F238E27FC236}">
                <a16:creationId xmlns:a16="http://schemas.microsoft.com/office/drawing/2014/main" id="{8D0F6A3C-4A54-745E-2734-80E02020F7A7}"/>
              </a:ext>
            </a:extLst>
          </p:cNvPr>
          <p:cNvSpPr>
            <a:spLocks noGrp="1"/>
          </p:cNvSpPr>
          <p:nvPr>
            <p:ph type="body" sz="quarter" idx="4294967295"/>
          </p:nvPr>
        </p:nvSpPr>
        <p:spPr>
          <a:xfrm>
            <a:off x="3041432" y="2553776"/>
            <a:ext cx="8805999" cy="780125"/>
          </a:xfrm>
          <a:prstGeom prst="rect">
            <a:avLst/>
          </a:prstGeom>
        </p:spPr>
        <p:txBody>
          <a:bodyPr lIns="288000" tIns="45720" rIns="91440" bIns="45720" anchor="ctr" anchorCtr="0"/>
          <a:lstStyle/>
          <a:p>
            <a:pPr marL="0" indent="0">
              <a:buNone/>
            </a:pPr>
            <a:r>
              <a:rPr lang="en-US" dirty="0">
                <a:solidFill>
                  <a:schemeClr val="bg1"/>
                </a:solidFill>
              </a:rPr>
              <a:t>PROPOSAL</a:t>
            </a:r>
          </a:p>
        </p:txBody>
      </p:sp>
      <p:sp>
        <p:nvSpPr>
          <p:cNvPr id="5" name="Text Placeholder 4">
            <a:extLst>
              <a:ext uri="{FF2B5EF4-FFF2-40B4-BE49-F238E27FC236}">
                <a16:creationId xmlns:a16="http://schemas.microsoft.com/office/drawing/2014/main" id="{D60A586C-8B09-107F-2C47-78760EC27317}"/>
              </a:ext>
            </a:extLst>
          </p:cNvPr>
          <p:cNvSpPr>
            <a:spLocks noGrp="1"/>
          </p:cNvSpPr>
          <p:nvPr>
            <p:ph type="body" sz="quarter" idx="4294967295"/>
          </p:nvPr>
        </p:nvSpPr>
        <p:spPr>
          <a:xfrm>
            <a:off x="3041431" y="3418997"/>
            <a:ext cx="8805999" cy="780125"/>
          </a:xfrm>
          <a:prstGeom prst="rect">
            <a:avLst/>
          </a:prstGeom>
        </p:spPr>
        <p:txBody>
          <a:bodyPr lIns="288000" tIns="45720" rIns="91440" bIns="45720" anchor="ctr" anchorCtr="0"/>
          <a:lstStyle/>
          <a:p>
            <a:pPr marL="0" indent="0">
              <a:buNone/>
            </a:pPr>
            <a:r>
              <a:rPr lang="en-US" dirty="0">
                <a:solidFill>
                  <a:schemeClr val="bg1"/>
                </a:solidFill>
              </a:rPr>
              <a:t>REASONING</a:t>
            </a:r>
          </a:p>
        </p:txBody>
      </p:sp>
      <p:sp>
        <p:nvSpPr>
          <p:cNvPr id="6" name="Text Placeholder 5">
            <a:extLst>
              <a:ext uri="{FF2B5EF4-FFF2-40B4-BE49-F238E27FC236}">
                <a16:creationId xmlns:a16="http://schemas.microsoft.com/office/drawing/2014/main" id="{EC47E597-A400-4AC9-F600-49E7A4C487D7}"/>
              </a:ext>
            </a:extLst>
          </p:cNvPr>
          <p:cNvSpPr>
            <a:spLocks noGrp="1"/>
          </p:cNvSpPr>
          <p:nvPr>
            <p:ph type="body" sz="quarter" idx="4294967295"/>
          </p:nvPr>
        </p:nvSpPr>
        <p:spPr>
          <a:xfrm>
            <a:off x="3050001" y="4290569"/>
            <a:ext cx="8805999" cy="780125"/>
          </a:xfrm>
          <a:prstGeom prst="rect">
            <a:avLst/>
          </a:prstGeom>
        </p:spPr>
        <p:txBody>
          <a:bodyPr lIns="288000" tIns="45720" rIns="91440" bIns="45720" anchor="ctr" anchorCtr="0"/>
          <a:lstStyle/>
          <a:p>
            <a:pPr marL="0" indent="0">
              <a:buNone/>
            </a:pPr>
            <a:r>
              <a:rPr lang="en-US" dirty="0">
                <a:solidFill>
                  <a:schemeClr val="bg1"/>
                </a:solidFill>
              </a:rPr>
              <a:t>LIMITATIONS &amp; FURTHER EXPLORATION</a:t>
            </a:r>
          </a:p>
        </p:txBody>
      </p:sp>
      <p:sp>
        <p:nvSpPr>
          <p:cNvPr id="11" name="Text Placeholder 3">
            <a:extLst>
              <a:ext uri="{FF2B5EF4-FFF2-40B4-BE49-F238E27FC236}">
                <a16:creationId xmlns:a16="http://schemas.microsoft.com/office/drawing/2014/main" id="{7BA6EEA0-411F-E9B7-B42E-9A4FC9648BDD}"/>
              </a:ext>
            </a:extLst>
          </p:cNvPr>
          <p:cNvSpPr txBox="1">
            <a:spLocks/>
          </p:cNvSpPr>
          <p:nvPr/>
        </p:nvSpPr>
        <p:spPr>
          <a:xfrm>
            <a:off x="3041430" y="5175745"/>
            <a:ext cx="8805999" cy="780125"/>
          </a:xfrm>
          <a:prstGeom prst="rect">
            <a:avLst/>
          </a:prstGeom>
        </p:spPr>
        <p:txBody>
          <a:bodyPr lIns="288000" tIns="45720" rIns="91440" bIns="45720" anchor="ctr" anchorCtr="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dirty="0">
                <a:solidFill>
                  <a:schemeClr val="bg1"/>
                </a:solidFill>
              </a:rPr>
              <a:t>RECOMMENDATION ON TIER 1 LOUNGE IN TERMINAL 3</a:t>
            </a:r>
          </a:p>
        </p:txBody>
      </p:sp>
    </p:spTree>
    <p:extLst>
      <p:ext uri="{BB962C8B-B14F-4D97-AF65-F5344CB8AC3E}">
        <p14:creationId xmlns:p14="http://schemas.microsoft.com/office/powerpoint/2010/main" val="22017968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6505FB-8EB9-E8AE-CB9E-6A1C1D1E99ED}"/>
              </a:ext>
            </a:extLst>
          </p:cNvPr>
          <p:cNvSpPr>
            <a:spLocks noGrp="1"/>
          </p:cNvSpPr>
          <p:nvPr>
            <p:ph type="ctrTitle"/>
          </p:nvPr>
        </p:nvSpPr>
        <p:spPr/>
        <p:txBody>
          <a:bodyPr lIns="91440" tIns="45720" rIns="91440" bIns="45720" anchor="ctr">
            <a:normAutofit/>
          </a:bodyPr>
          <a:lstStyle/>
          <a:p>
            <a:r>
              <a:rPr lang="en-US" dirty="0">
                <a:latin typeface="Mylius Modern"/>
              </a:rPr>
              <a:t>Assumptions</a:t>
            </a:r>
            <a:endParaRPr lang="en-US" dirty="0"/>
          </a:p>
        </p:txBody>
      </p:sp>
      <p:sp>
        <p:nvSpPr>
          <p:cNvPr id="3" name="Subtitle 2">
            <a:extLst>
              <a:ext uri="{FF2B5EF4-FFF2-40B4-BE49-F238E27FC236}">
                <a16:creationId xmlns:a16="http://schemas.microsoft.com/office/drawing/2014/main" id="{1E2D5003-E176-AFE6-2291-C0E695DDF099}"/>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0227989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F2FC7D5-0FB7-60EC-8191-631D1454D3D6}"/>
              </a:ext>
            </a:extLst>
          </p:cNvPr>
          <p:cNvSpPr>
            <a:spLocks noGrp="1"/>
          </p:cNvSpPr>
          <p:nvPr>
            <p:ph type="body" sz="quarter" idx="11"/>
          </p:nvPr>
        </p:nvSpPr>
        <p:spPr>
          <a:xfrm>
            <a:off x="4225925" y="1390256"/>
            <a:ext cx="7896519" cy="1031875"/>
          </a:xfrm>
        </p:spPr>
        <p:txBody>
          <a:bodyPr lIns="91440" tIns="45720" rIns="91440" bIns="45720" anchor="ctr"/>
          <a:lstStyle/>
          <a:p>
            <a:r>
              <a:rPr lang="en-US" dirty="0">
                <a:latin typeface="Mylius Modern"/>
              </a:rPr>
              <a:t>No significant changes to lounge eligibility rules.</a:t>
            </a:r>
            <a:endParaRPr lang="en-US" u="sng" dirty="0"/>
          </a:p>
        </p:txBody>
      </p:sp>
      <p:sp>
        <p:nvSpPr>
          <p:cNvPr id="3" name="Text Placeholder 2">
            <a:extLst>
              <a:ext uri="{FF2B5EF4-FFF2-40B4-BE49-F238E27FC236}">
                <a16:creationId xmlns:a16="http://schemas.microsoft.com/office/drawing/2014/main" id="{A236BAFD-D543-3317-0CE4-9309F42BBA28}"/>
              </a:ext>
            </a:extLst>
          </p:cNvPr>
          <p:cNvSpPr>
            <a:spLocks noGrp="1" noRot="1" noMove="1" noResize="1" noEditPoints="1" noAdjustHandles="1" noChangeArrowheads="1" noChangeShapeType="1"/>
          </p:cNvSpPr>
          <p:nvPr>
            <p:ph type="body" sz="quarter" idx="12"/>
          </p:nvPr>
        </p:nvSpPr>
        <p:spPr>
          <a:xfrm>
            <a:off x="4225925" y="2578677"/>
            <a:ext cx="7802445" cy="1031875"/>
          </a:xfrm>
        </p:spPr>
        <p:txBody>
          <a:bodyPr lIns="91440" tIns="45720" rIns="91440" bIns="45720" anchor="ctr"/>
          <a:lstStyle/>
          <a:p>
            <a:r>
              <a:rPr lang="en-US" dirty="0">
                <a:latin typeface="Mylius Modern"/>
              </a:rPr>
              <a:t>Lounge eligibility profiles in Summer 2025 will be comparable to previous years.</a:t>
            </a:r>
            <a:endParaRPr lang="en-US" dirty="0"/>
          </a:p>
        </p:txBody>
      </p:sp>
      <p:sp>
        <p:nvSpPr>
          <p:cNvPr id="4" name="Text Placeholder 3">
            <a:extLst>
              <a:ext uri="{FF2B5EF4-FFF2-40B4-BE49-F238E27FC236}">
                <a16:creationId xmlns:a16="http://schemas.microsoft.com/office/drawing/2014/main" id="{532F815F-0D1F-2B88-13E1-165CB045F3AC}"/>
              </a:ext>
            </a:extLst>
          </p:cNvPr>
          <p:cNvSpPr>
            <a:spLocks noGrp="1"/>
          </p:cNvSpPr>
          <p:nvPr>
            <p:ph type="body" sz="quarter" idx="13"/>
          </p:nvPr>
        </p:nvSpPr>
        <p:spPr>
          <a:xfrm>
            <a:off x="4225925" y="3788575"/>
            <a:ext cx="7736593" cy="1031875"/>
          </a:xfrm>
        </p:spPr>
        <p:txBody>
          <a:bodyPr lIns="91440" tIns="45720" rIns="91440" bIns="45720" anchor="ctr"/>
          <a:lstStyle/>
          <a:p>
            <a:r>
              <a:rPr lang="en-US" dirty="0">
                <a:latin typeface="Mylius Modern"/>
              </a:rPr>
              <a:t>Aircraft cabin ratios will be broadly similar to previously.</a:t>
            </a:r>
            <a:endParaRPr lang="en-US" dirty="0"/>
          </a:p>
        </p:txBody>
      </p:sp>
      <p:sp>
        <p:nvSpPr>
          <p:cNvPr id="5" name="Text Placeholder 4">
            <a:extLst>
              <a:ext uri="{FF2B5EF4-FFF2-40B4-BE49-F238E27FC236}">
                <a16:creationId xmlns:a16="http://schemas.microsoft.com/office/drawing/2014/main" id="{AD70B319-9E45-4D59-08BD-0BEFCF1D85A0}"/>
              </a:ext>
            </a:extLst>
          </p:cNvPr>
          <p:cNvSpPr>
            <a:spLocks noGrp="1"/>
          </p:cNvSpPr>
          <p:nvPr>
            <p:ph type="body" sz="quarter" idx="14"/>
          </p:nvPr>
        </p:nvSpPr>
        <p:spPr/>
        <p:txBody>
          <a:bodyPr lIns="91440" tIns="45720" rIns="91440" bIns="45720" anchor="ctr"/>
          <a:lstStyle/>
          <a:p>
            <a:r>
              <a:rPr lang="en-US" dirty="0"/>
              <a:t>BA customers will choose BA lounges over T3 </a:t>
            </a:r>
            <a:r>
              <a:rPr lang="en-US" dirty="0" err="1"/>
              <a:t>OneWorld</a:t>
            </a:r>
            <a:r>
              <a:rPr lang="en-US" dirty="0"/>
              <a:t> partner lounges.</a:t>
            </a:r>
          </a:p>
        </p:txBody>
      </p:sp>
      <p:sp>
        <p:nvSpPr>
          <p:cNvPr id="6" name="Title 5">
            <a:extLst>
              <a:ext uri="{FF2B5EF4-FFF2-40B4-BE49-F238E27FC236}">
                <a16:creationId xmlns:a16="http://schemas.microsoft.com/office/drawing/2014/main" id="{91E8C238-3AE2-86D1-8FA5-48EE41EBA0BB}"/>
              </a:ext>
            </a:extLst>
          </p:cNvPr>
          <p:cNvSpPr>
            <a:spLocks noGrp="1"/>
          </p:cNvSpPr>
          <p:nvPr>
            <p:ph type="title"/>
          </p:nvPr>
        </p:nvSpPr>
        <p:spPr/>
        <p:txBody>
          <a:bodyPr lIns="91440" tIns="45720" rIns="91440" bIns="45720" anchor="t"/>
          <a:lstStyle/>
          <a:p>
            <a:r>
              <a:rPr lang="en-US">
                <a:latin typeface="Mylius Modern"/>
              </a:rPr>
              <a:t>Assumptions</a:t>
            </a:r>
            <a:endParaRPr lang="en-US"/>
          </a:p>
        </p:txBody>
      </p:sp>
    </p:spTree>
    <p:extLst>
      <p:ext uri="{BB962C8B-B14F-4D97-AF65-F5344CB8AC3E}">
        <p14:creationId xmlns:p14="http://schemas.microsoft.com/office/powerpoint/2010/main" val="6435366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6505FB-8EB9-E8AE-CB9E-6A1C1D1E99ED}"/>
              </a:ext>
            </a:extLst>
          </p:cNvPr>
          <p:cNvSpPr>
            <a:spLocks noGrp="1"/>
          </p:cNvSpPr>
          <p:nvPr>
            <p:ph type="ctrTitle"/>
          </p:nvPr>
        </p:nvSpPr>
        <p:spPr/>
        <p:txBody>
          <a:bodyPr lIns="91440" tIns="45720" rIns="91440" bIns="45720" anchor="ctr">
            <a:normAutofit/>
          </a:bodyPr>
          <a:lstStyle/>
          <a:p>
            <a:r>
              <a:rPr lang="en-US" dirty="0">
                <a:latin typeface="Mylius Modern"/>
              </a:rPr>
              <a:t>Our Proposal</a:t>
            </a:r>
            <a:endParaRPr lang="en-US" dirty="0"/>
          </a:p>
        </p:txBody>
      </p:sp>
    </p:spTree>
    <p:extLst>
      <p:ext uri="{BB962C8B-B14F-4D97-AF65-F5344CB8AC3E}">
        <p14:creationId xmlns:p14="http://schemas.microsoft.com/office/powerpoint/2010/main" val="40022066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E8177A-4EB4-E86A-5583-D00704DDFC44}"/>
              </a:ext>
            </a:extLst>
          </p:cNvPr>
          <p:cNvSpPr>
            <a:spLocks noGrp="1"/>
          </p:cNvSpPr>
          <p:nvPr>
            <p:ph type="title"/>
          </p:nvPr>
        </p:nvSpPr>
        <p:spPr>
          <a:xfrm>
            <a:off x="343672" y="298938"/>
            <a:ext cx="9537746" cy="659423"/>
          </a:xfrm>
        </p:spPr>
        <p:txBody>
          <a:bodyPr>
            <a:normAutofit/>
          </a:bodyPr>
          <a:lstStyle/>
          <a:p>
            <a:r>
              <a:rPr lang="en-GB" dirty="0"/>
              <a:t>Lookup Table</a:t>
            </a:r>
          </a:p>
        </p:txBody>
      </p:sp>
      <p:graphicFrame>
        <p:nvGraphicFramePr>
          <p:cNvPr id="4" name="Table 3">
            <a:extLst>
              <a:ext uri="{FF2B5EF4-FFF2-40B4-BE49-F238E27FC236}">
                <a16:creationId xmlns:a16="http://schemas.microsoft.com/office/drawing/2014/main" id="{03E720E6-7D21-B7A4-1A8C-AFF52322717B}"/>
              </a:ext>
            </a:extLst>
          </p:cNvPr>
          <p:cNvGraphicFramePr>
            <a:graphicFrameLocks noGrp="1"/>
          </p:cNvGraphicFramePr>
          <p:nvPr>
            <p:extLst>
              <p:ext uri="{D42A27DB-BD31-4B8C-83A1-F6EECF244321}">
                <p14:modId xmlns:p14="http://schemas.microsoft.com/office/powerpoint/2010/main" val="2863506329"/>
              </p:ext>
            </p:extLst>
          </p:nvPr>
        </p:nvGraphicFramePr>
        <p:xfrm>
          <a:off x="3564835" y="1238596"/>
          <a:ext cx="8487436" cy="5346904"/>
        </p:xfrm>
        <a:graphic>
          <a:graphicData uri="http://schemas.openxmlformats.org/drawingml/2006/table">
            <a:tbl>
              <a:tblPr firstRow="1" bandRow="1">
                <a:tableStyleId>{5C22544A-7EE6-4342-B048-85BDC9FD1C3A}</a:tableStyleId>
              </a:tblPr>
              <a:tblGrid>
                <a:gridCol w="1330779">
                  <a:extLst>
                    <a:ext uri="{9D8B030D-6E8A-4147-A177-3AD203B41FA5}">
                      <a16:colId xmlns:a16="http://schemas.microsoft.com/office/drawing/2014/main" val="632582139"/>
                    </a:ext>
                  </a:extLst>
                </a:gridCol>
                <a:gridCol w="3106934">
                  <a:extLst>
                    <a:ext uri="{9D8B030D-6E8A-4147-A177-3AD203B41FA5}">
                      <a16:colId xmlns:a16="http://schemas.microsoft.com/office/drawing/2014/main" val="4158638657"/>
                    </a:ext>
                  </a:extLst>
                </a:gridCol>
                <a:gridCol w="1229218">
                  <a:extLst>
                    <a:ext uri="{9D8B030D-6E8A-4147-A177-3AD203B41FA5}">
                      <a16:colId xmlns:a16="http://schemas.microsoft.com/office/drawing/2014/main" val="3538303066"/>
                    </a:ext>
                  </a:extLst>
                </a:gridCol>
                <a:gridCol w="957849">
                  <a:extLst>
                    <a:ext uri="{9D8B030D-6E8A-4147-A177-3AD203B41FA5}">
                      <a16:colId xmlns:a16="http://schemas.microsoft.com/office/drawing/2014/main" val="2421013886"/>
                    </a:ext>
                  </a:extLst>
                </a:gridCol>
                <a:gridCol w="572550">
                  <a:extLst>
                    <a:ext uri="{9D8B030D-6E8A-4147-A177-3AD203B41FA5}">
                      <a16:colId xmlns:a16="http://schemas.microsoft.com/office/drawing/2014/main" val="2448464272"/>
                    </a:ext>
                  </a:extLst>
                </a:gridCol>
                <a:gridCol w="645053">
                  <a:extLst>
                    <a:ext uri="{9D8B030D-6E8A-4147-A177-3AD203B41FA5}">
                      <a16:colId xmlns:a16="http://schemas.microsoft.com/office/drawing/2014/main" val="771876758"/>
                    </a:ext>
                  </a:extLst>
                </a:gridCol>
                <a:gridCol w="645053">
                  <a:extLst>
                    <a:ext uri="{9D8B030D-6E8A-4147-A177-3AD203B41FA5}">
                      <a16:colId xmlns:a16="http://schemas.microsoft.com/office/drawing/2014/main" val="2053637285"/>
                    </a:ext>
                  </a:extLst>
                </a:gridCol>
              </a:tblGrid>
              <a:tr h="143796">
                <a:tc>
                  <a:txBody>
                    <a:bodyPr/>
                    <a:lstStyle/>
                    <a:p>
                      <a:pPr algn="l" fontAlgn="b"/>
                      <a:r>
                        <a:rPr lang="en-GB" sz="1100" u="none" strike="noStrike">
                          <a:effectLst/>
                        </a:rPr>
                        <a:t>FIRST_SEATS_BINS</a:t>
                      </a:r>
                      <a:endParaRPr lang="en-GB" sz="1100" b="1" i="0" u="none" strike="noStrike">
                        <a:solidFill>
                          <a:srgbClr val="FFFFFF"/>
                        </a:solidFill>
                        <a:effectLst/>
                        <a:latin typeface="Calibri" panose="020F0502020204030204" pitchFamily="34" charset="0"/>
                      </a:endParaRPr>
                    </a:p>
                  </a:txBody>
                  <a:tcPr marL="2608" marR="2608" marT="2608" marB="0" anchor="b"/>
                </a:tc>
                <a:tc>
                  <a:txBody>
                    <a:bodyPr/>
                    <a:lstStyle/>
                    <a:p>
                      <a:pPr algn="l" fontAlgn="b"/>
                      <a:r>
                        <a:rPr lang="en-GB" sz="1100" u="none" strike="noStrike">
                          <a:effectLst/>
                        </a:rPr>
                        <a:t>Country Group (SH)/ Continent Group (LH)</a:t>
                      </a:r>
                      <a:endParaRPr lang="en-GB" sz="1100" b="1" i="0" u="none" strike="noStrike">
                        <a:solidFill>
                          <a:srgbClr val="FFFFFF"/>
                        </a:solidFill>
                        <a:effectLst/>
                        <a:latin typeface="Calibri" panose="020F0502020204030204" pitchFamily="34" charset="0"/>
                      </a:endParaRPr>
                    </a:p>
                  </a:txBody>
                  <a:tcPr marL="2608" marR="2608" marT="2608" marB="0" anchor="b"/>
                </a:tc>
                <a:tc>
                  <a:txBody>
                    <a:bodyPr/>
                    <a:lstStyle/>
                    <a:p>
                      <a:pPr algn="l" fontAlgn="b"/>
                      <a:r>
                        <a:rPr lang="en-GB" sz="1100" u="none" strike="noStrike">
                          <a:effectLst/>
                        </a:rPr>
                        <a:t>COUNTRY_NM</a:t>
                      </a:r>
                      <a:endParaRPr lang="en-GB" sz="1100" b="1" i="0" u="none" strike="noStrike">
                        <a:solidFill>
                          <a:srgbClr val="FFFFFF"/>
                        </a:solidFill>
                        <a:effectLst/>
                        <a:latin typeface="Calibri" panose="020F0502020204030204" pitchFamily="34" charset="0"/>
                      </a:endParaRPr>
                    </a:p>
                  </a:txBody>
                  <a:tcPr marL="2608" marR="2608" marT="2608" marB="0" anchor="b"/>
                </a:tc>
                <a:tc>
                  <a:txBody>
                    <a:bodyPr/>
                    <a:lstStyle/>
                    <a:p>
                      <a:pPr algn="l" fontAlgn="b"/>
                      <a:r>
                        <a:rPr lang="en-GB" sz="1100" u="none" strike="noStrike">
                          <a:effectLst/>
                        </a:rPr>
                        <a:t>Not_Eligible</a:t>
                      </a:r>
                      <a:endParaRPr lang="en-GB" sz="1100" b="1" i="0" u="none" strike="noStrike">
                        <a:solidFill>
                          <a:srgbClr val="FFFFFF"/>
                        </a:solidFill>
                        <a:effectLst/>
                        <a:latin typeface="Calibri" panose="020F0502020204030204" pitchFamily="34" charset="0"/>
                      </a:endParaRPr>
                    </a:p>
                  </a:txBody>
                  <a:tcPr marL="2608" marR="2608" marT="2608" marB="0" anchor="b"/>
                </a:tc>
                <a:tc>
                  <a:txBody>
                    <a:bodyPr/>
                    <a:lstStyle/>
                    <a:p>
                      <a:pPr algn="l" fontAlgn="b"/>
                      <a:r>
                        <a:rPr lang="en-GB" sz="1100" u="none" strike="noStrike">
                          <a:effectLst/>
                        </a:rPr>
                        <a:t>Tier_1</a:t>
                      </a:r>
                      <a:endParaRPr lang="en-GB" sz="1100" b="1" i="0" u="none" strike="noStrike">
                        <a:solidFill>
                          <a:srgbClr val="FFFFFF"/>
                        </a:solidFill>
                        <a:effectLst/>
                        <a:latin typeface="Calibri" panose="020F0502020204030204" pitchFamily="34" charset="0"/>
                      </a:endParaRPr>
                    </a:p>
                  </a:txBody>
                  <a:tcPr marL="2608" marR="2608" marT="2608" marB="0" anchor="b"/>
                </a:tc>
                <a:tc>
                  <a:txBody>
                    <a:bodyPr/>
                    <a:lstStyle/>
                    <a:p>
                      <a:pPr algn="l" fontAlgn="b"/>
                      <a:r>
                        <a:rPr lang="en-GB" sz="1100" u="none" strike="noStrike">
                          <a:effectLst/>
                        </a:rPr>
                        <a:t>Tier_2</a:t>
                      </a:r>
                      <a:endParaRPr lang="en-GB" sz="1100" b="1" i="0" u="none" strike="noStrike">
                        <a:solidFill>
                          <a:srgbClr val="FFFFFF"/>
                        </a:solidFill>
                        <a:effectLst/>
                        <a:latin typeface="Calibri" panose="020F0502020204030204" pitchFamily="34" charset="0"/>
                      </a:endParaRPr>
                    </a:p>
                  </a:txBody>
                  <a:tcPr marL="2608" marR="2608" marT="2608" marB="0" anchor="b"/>
                </a:tc>
                <a:tc>
                  <a:txBody>
                    <a:bodyPr/>
                    <a:lstStyle/>
                    <a:p>
                      <a:pPr algn="l" fontAlgn="b"/>
                      <a:r>
                        <a:rPr lang="en-GB" sz="1100" u="none" strike="noStrike">
                          <a:effectLst/>
                        </a:rPr>
                        <a:t>Tier_3</a:t>
                      </a:r>
                      <a:endParaRPr lang="en-GB" sz="1100" b="1" i="0" u="none" strike="noStrike">
                        <a:solidFill>
                          <a:srgbClr val="FFFFFF"/>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359422093"/>
                  </a:ext>
                </a:extLst>
              </a:tr>
              <a:tr h="143796">
                <a:tc>
                  <a:txBody>
                    <a:bodyPr/>
                    <a:lstStyle/>
                    <a:p>
                      <a:pPr algn="l" fontAlgn="b"/>
                      <a:r>
                        <a:rPr lang="en-GB" sz="600" u="none" strike="noStrike">
                          <a:effectLst/>
                        </a:rPr>
                        <a:t>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FRICA</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9.62%</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0.37%</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4.27%</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5.74%</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602097888"/>
                  </a:ext>
                </a:extLst>
              </a:tr>
              <a:tr h="143796">
                <a:tc>
                  <a:txBody>
                    <a:bodyPr/>
                    <a:lstStyle/>
                    <a:p>
                      <a:pPr algn="l" fontAlgn="b"/>
                      <a:r>
                        <a:rPr lang="en-GB" sz="600" u="none" strike="noStrike">
                          <a:effectLst/>
                        </a:rPr>
                        <a:t>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SIA FAR EAST</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80.97%</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0.24%</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3.31%</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5.47%</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2782328249"/>
                  </a:ext>
                </a:extLst>
              </a:tr>
              <a:tr h="143796">
                <a:tc>
                  <a:txBody>
                    <a:bodyPr/>
                    <a:lstStyle/>
                    <a:p>
                      <a:pPr algn="l" fontAlgn="b"/>
                      <a:r>
                        <a:rPr lang="en-GB" sz="600" u="none" strike="noStrike">
                          <a:effectLst/>
                        </a:rPr>
                        <a:t>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SIA SOUTH EAST AND CENTRA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80.11%</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0.21%</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3.11%</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6.57%</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557648324"/>
                  </a:ext>
                </a:extLst>
              </a:tr>
              <a:tr h="143796">
                <a:tc>
                  <a:txBody>
                    <a:bodyPr/>
                    <a:lstStyle/>
                    <a:p>
                      <a:pPr algn="l" fontAlgn="b"/>
                      <a:r>
                        <a:rPr lang="en-GB" sz="600" u="none" strike="noStrike">
                          <a:effectLst/>
                        </a:rPr>
                        <a:t>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USTRALASIA PACIFIC</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9.73%</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0.29%</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4.16%</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5.82%</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1724707469"/>
                  </a:ext>
                </a:extLst>
              </a:tr>
              <a:tr h="143796">
                <a:tc>
                  <a:txBody>
                    <a:bodyPr/>
                    <a:lstStyle/>
                    <a:p>
                      <a:pPr algn="l" fontAlgn="b"/>
                      <a:r>
                        <a:rPr lang="en-GB" sz="600" u="none" strike="noStrike">
                          <a:effectLst/>
                        </a:rPr>
                        <a:t>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EUROPE EXC UK</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8.25%</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0.7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6.22%</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4.82%</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3843466925"/>
                  </a:ext>
                </a:extLst>
              </a:tr>
              <a:tr h="143796">
                <a:tc>
                  <a:txBody>
                    <a:bodyPr/>
                    <a:lstStyle/>
                    <a:p>
                      <a:pPr algn="l" fontAlgn="b"/>
                      <a:r>
                        <a:rPr lang="en-GB" sz="600" u="none" strike="noStrike">
                          <a:effectLst/>
                        </a:rPr>
                        <a:t>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MIDDLE EAST</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8.46%</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0.44%</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5.4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5.70%</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2284359429"/>
                  </a:ext>
                </a:extLst>
              </a:tr>
              <a:tr h="143796">
                <a:tc>
                  <a:txBody>
                    <a:bodyPr/>
                    <a:lstStyle/>
                    <a:p>
                      <a:pPr algn="l" fontAlgn="b"/>
                      <a:r>
                        <a:rPr lang="en-GB" sz="600" u="none" strike="noStrike">
                          <a:effectLst/>
                        </a:rPr>
                        <a:t>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NORTH AMERICA</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Canada</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80.67%</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0.24%</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3.36%</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5.73%</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2307100189"/>
                  </a:ext>
                </a:extLst>
              </a:tr>
              <a:tr h="143796">
                <a:tc>
                  <a:txBody>
                    <a:bodyPr/>
                    <a:lstStyle/>
                    <a:p>
                      <a:pPr algn="l" fontAlgn="b"/>
                      <a:r>
                        <a:rPr lang="en-GB" sz="600" u="none" strike="noStrike">
                          <a:effectLst/>
                        </a:rPr>
                        <a:t>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NORTH AMERICA</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USA &amp; Bermuda</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9.13%</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0.16%</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4.03%</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6.68%</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3502910456"/>
                  </a:ext>
                </a:extLst>
              </a:tr>
              <a:tr h="143796">
                <a:tc>
                  <a:txBody>
                    <a:bodyPr/>
                    <a:lstStyle/>
                    <a:p>
                      <a:pPr algn="l" fontAlgn="b"/>
                      <a:r>
                        <a:rPr lang="en-GB" sz="600" u="none" strike="noStrike">
                          <a:effectLst/>
                        </a:rPr>
                        <a:t>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SOUTH AMERICA INC CARIBBEAN</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80.81%</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0.19%</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3.16%</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5.84%</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787497409"/>
                  </a:ext>
                </a:extLst>
              </a:tr>
              <a:tr h="143796">
                <a:tc>
                  <a:txBody>
                    <a:bodyPr/>
                    <a:lstStyle/>
                    <a:p>
                      <a:pPr algn="l" fontAlgn="b"/>
                      <a:r>
                        <a:rPr lang="en-GB" sz="600" u="none" strike="noStrike">
                          <a:effectLst/>
                        </a:rPr>
                        <a:t>7-1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FRICA</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1.01%</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3.14%</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5.08%</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20.77%</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797456387"/>
                  </a:ext>
                </a:extLst>
              </a:tr>
              <a:tr h="143796">
                <a:tc>
                  <a:txBody>
                    <a:bodyPr/>
                    <a:lstStyle/>
                    <a:p>
                      <a:pPr algn="l" fontAlgn="b"/>
                      <a:r>
                        <a:rPr lang="en-GB" sz="600" u="none" strike="noStrike">
                          <a:effectLst/>
                        </a:rPr>
                        <a:t>7-1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SIA FAR EAST</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3.96%</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2.28%</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4.15%</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9.61%</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675114235"/>
                  </a:ext>
                </a:extLst>
              </a:tr>
              <a:tr h="143796">
                <a:tc>
                  <a:txBody>
                    <a:bodyPr/>
                    <a:lstStyle/>
                    <a:p>
                      <a:pPr algn="l" fontAlgn="b"/>
                      <a:r>
                        <a:rPr lang="en-GB" sz="600" u="none" strike="noStrike">
                          <a:effectLst/>
                        </a:rPr>
                        <a:t>7-1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SIA SOUTH EAST AND CENTRA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3.49%</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2.69%</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3.95%</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9.87%</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2941681781"/>
                  </a:ext>
                </a:extLst>
              </a:tr>
              <a:tr h="143796">
                <a:tc>
                  <a:txBody>
                    <a:bodyPr/>
                    <a:lstStyle/>
                    <a:p>
                      <a:pPr algn="l" fontAlgn="b"/>
                      <a:r>
                        <a:rPr lang="en-GB" sz="600" u="none" strike="noStrike">
                          <a:effectLst/>
                        </a:rPr>
                        <a:t>7-1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USTRALASIA PACIFIC</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62.78%</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3.36%</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44%</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26.42%</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1639990621"/>
                  </a:ext>
                </a:extLst>
              </a:tr>
              <a:tr h="143796">
                <a:tc>
                  <a:txBody>
                    <a:bodyPr/>
                    <a:lstStyle/>
                    <a:p>
                      <a:pPr algn="l" fontAlgn="b"/>
                      <a:r>
                        <a:rPr lang="en-GB" sz="600" u="none" strike="noStrike">
                          <a:effectLst/>
                        </a:rPr>
                        <a:t>7-1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EUROPE EXC UK</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67.68%</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85%</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0.32%</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20.14%</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206813777"/>
                  </a:ext>
                </a:extLst>
              </a:tr>
              <a:tr h="143796">
                <a:tc>
                  <a:txBody>
                    <a:bodyPr/>
                    <a:lstStyle/>
                    <a:p>
                      <a:pPr algn="l" fontAlgn="b"/>
                      <a:r>
                        <a:rPr lang="en-GB" sz="600" u="none" strike="noStrike">
                          <a:effectLst/>
                        </a:rPr>
                        <a:t>7-1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MIDDLE EAST</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2.62%</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3.51%</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5.2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8.67%</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3647350530"/>
                  </a:ext>
                </a:extLst>
              </a:tr>
              <a:tr h="143796">
                <a:tc>
                  <a:txBody>
                    <a:bodyPr/>
                    <a:lstStyle/>
                    <a:p>
                      <a:pPr algn="l" fontAlgn="b"/>
                      <a:r>
                        <a:rPr lang="en-GB" sz="600" u="none" strike="noStrike">
                          <a:effectLst/>
                        </a:rPr>
                        <a:t>7-1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NORTH AMERICA</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Canada</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5.57%</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0.85%</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4.28%</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9.29%</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3677453663"/>
                  </a:ext>
                </a:extLst>
              </a:tr>
              <a:tr h="143796">
                <a:tc>
                  <a:txBody>
                    <a:bodyPr/>
                    <a:lstStyle/>
                    <a:p>
                      <a:pPr algn="l" fontAlgn="b"/>
                      <a:r>
                        <a:rPr lang="en-GB" sz="600" u="none" strike="noStrike">
                          <a:effectLst/>
                        </a:rPr>
                        <a:t>7-1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NORTH AMERICA</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USA &amp; Bermuda</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69.56%</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3.32%</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5.95%</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21.17%</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3427776657"/>
                  </a:ext>
                </a:extLst>
              </a:tr>
              <a:tr h="143796">
                <a:tc>
                  <a:txBody>
                    <a:bodyPr/>
                    <a:lstStyle/>
                    <a:p>
                      <a:pPr algn="l" fontAlgn="b"/>
                      <a:r>
                        <a:rPr lang="en-GB" sz="600" u="none" strike="noStrike">
                          <a:effectLst/>
                        </a:rPr>
                        <a:t>7-1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SOUTH AMERICA INC CARIBBEAN</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5.4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2.86%</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3.48%</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8.26%</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243619698"/>
                  </a:ext>
                </a:extLst>
              </a:tr>
              <a:tr h="143796">
                <a:tc>
                  <a:txBody>
                    <a:bodyPr/>
                    <a:lstStyle/>
                    <a:p>
                      <a:pPr algn="l" fontAlgn="b"/>
                      <a:r>
                        <a:rPr lang="en-GB" sz="600" u="none" strike="noStrike">
                          <a:effectLst/>
                        </a:rPr>
                        <a:t>11-17</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FRICA</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3.03%</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3.63%</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4.72%</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8.62%</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3345113108"/>
                  </a:ext>
                </a:extLst>
              </a:tr>
              <a:tr h="143796">
                <a:tc>
                  <a:txBody>
                    <a:bodyPr/>
                    <a:lstStyle/>
                    <a:p>
                      <a:pPr algn="l" fontAlgn="b"/>
                      <a:r>
                        <a:rPr lang="en-GB" sz="600" u="none" strike="noStrike">
                          <a:effectLst/>
                        </a:rPr>
                        <a:t>11-17</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SIA FAR EAST</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2.08%</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4.29%</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5.0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8.63%</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3923943684"/>
                  </a:ext>
                </a:extLst>
              </a:tr>
              <a:tr h="143796">
                <a:tc>
                  <a:txBody>
                    <a:bodyPr/>
                    <a:lstStyle/>
                    <a:p>
                      <a:pPr algn="l" fontAlgn="b"/>
                      <a:r>
                        <a:rPr lang="en-GB" sz="600" u="none" strike="noStrike">
                          <a:effectLst/>
                        </a:rPr>
                        <a:t>11-17</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SIA SOUTH EAST AND CENTRA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69.81%</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4.93%</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4.41%</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20.85%</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3025918817"/>
                  </a:ext>
                </a:extLst>
              </a:tr>
              <a:tr h="143796">
                <a:tc>
                  <a:txBody>
                    <a:bodyPr/>
                    <a:lstStyle/>
                    <a:p>
                      <a:pPr algn="l" fontAlgn="b"/>
                      <a:r>
                        <a:rPr lang="en-GB" sz="600" u="none" strike="noStrike">
                          <a:effectLst/>
                        </a:rPr>
                        <a:t>11-17</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USTRALASIA PACIFIC</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0.11%</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3.56%</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6.42%</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9.91%</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1057151453"/>
                  </a:ext>
                </a:extLst>
              </a:tr>
              <a:tr h="143796">
                <a:tc>
                  <a:txBody>
                    <a:bodyPr/>
                    <a:lstStyle/>
                    <a:p>
                      <a:pPr algn="l" fontAlgn="b"/>
                      <a:r>
                        <a:rPr lang="en-GB" sz="600" u="none" strike="noStrike">
                          <a:effectLst/>
                        </a:rPr>
                        <a:t>11-17</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EUROPE EXC UK</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66.6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4.91%</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99%</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20.50%</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1237521595"/>
                  </a:ext>
                </a:extLst>
              </a:tr>
              <a:tr h="143796">
                <a:tc>
                  <a:txBody>
                    <a:bodyPr/>
                    <a:lstStyle/>
                    <a:p>
                      <a:pPr algn="l" fontAlgn="b"/>
                      <a:r>
                        <a:rPr lang="en-GB" sz="600" u="none" strike="noStrike">
                          <a:effectLst/>
                        </a:rPr>
                        <a:t>11-17</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MIDDLE EAST</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66.62%</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5.12%</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6.22%</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22.03%</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1978502423"/>
                  </a:ext>
                </a:extLst>
              </a:tr>
              <a:tr h="143796">
                <a:tc>
                  <a:txBody>
                    <a:bodyPr/>
                    <a:lstStyle/>
                    <a:p>
                      <a:pPr algn="l" fontAlgn="b"/>
                      <a:r>
                        <a:rPr lang="en-GB" sz="600" u="none" strike="noStrike">
                          <a:effectLst/>
                        </a:rPr>
                        <a:t>11-17</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NORTH AMERICA</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Canada</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4.13%</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3.92%</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3.06%</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8.89%</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3936463399"/>
                  </a:ext>
                </a:extLst>
              </a:tr>
              <a:tr h="143796">
                <a:tc>
                  <a:txBody>
                    <a:bodyPr/>
                    <a:lstStyle/>
                    <a:p>
                      <a:pPr algn="l" fontAlgn="b"/>
                      <a:r>
                        <a:rPr lang="en-GB" sz="600" u="none" strike="noStrike">
                          <a:effectLst/>
                        </a:rPr>
                        <a:t>11-17</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NORTH AMERICA</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USA &amp; Bermuda</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69.49%</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4.39%</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5.44%</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20.69%</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1642947374"/>
                  </a:ext>
                </a:extLst>
              </a:tr>
              <a:tr h="143796">
                <a:tc>
                  <a:txBody>
                    <a:bodyPr/>
                    <a:lstStyle/>
                    <a:p>
                      <a:pPr algn="l" fontAlgn="b"/>
                      <a:r>
                        <a:rPr lang="en-GB" sz="600" u="none" strike="noStrike">
                          <a:effectLst/>
                        </a:rPr>
                        <a:t>11-17</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SOUTH AMERICA INC CARIBBEAN</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3.45%</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4.34%</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3.34%</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8.86%</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3995840890"/>
                  </a:ext>
                </a:extLst>
              </a:tr>
              <a:tr h="143796">
                <a:tc>
                  <a:txBody>
                    <a:bodyPr/>
                    <a:lstStyle/>
                    <a:p>
                      <a:pPr algn="l" fontAlgn="b"/>
                      <a:r>
                        <a:rPr lang="en-GB" sz="600" u="none" strike="noStrike">
                          <a:effectLst/>
                        </a:rPr>
                        <a:t>SH</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BENELUX</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4.83%</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0.64%</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46%</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7.07%</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3975095067"/>
                  </a:ext>
                </a:extLst>
              </a:tr>
              <a:tr h="143796">
                <a:tc>
                  <a:txBody>
                    <a:bodyPr/>
                    <a:lstStyle/>
                    <a:p>
                      <a:pPr algn="l" fontAlgn="b"/>
                      <a:r>
                        <a:rPr lang="en-GB" sz="600" u="none" strike="noStrike">
                          <a:effectLst/>
                        </a:rPr>
                        <a:t>SH</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EASTERN EUROPE</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80.57%</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0.26%</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4.35%</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4.82%</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308141875"/>
                  </a:ext>
                </a:extLst>
              </a:tr>
              <a:tr h="143796">
                <a:tc>
                  <a:txBody>
                    <a:bodyPr/>
                    <a:lstStyle/>
                    <a:p>
                      <a:pPr algn="l" fontAlgn="b"/>
                      <a:r>
                        <a:rPr lang="en-GB" sz="600" u="none" strike="noStrike">
                          <a:effectLst/>
                        </a:rPr>
                        <a:t>SH</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IRELAND RO</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5.65%</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0.61%</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6.53%</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7.22%</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3540233753"/>
                  </a:ext>
                </a:extLst>
              </a:tr>
              <a:tr h="143796">
                <a:tc>
                  <a:txBody>
                    <a:bodyPr/>
                    <a:lstStyle/>
                    <a:p>
                      <a:pPr algn="l" fontAlgn="b"/>
                      <a:r>
                        <a:rPr lang="en-GB" sz="600" u="none" strike="noStrike">
                          <a:effectLst/>
                        </a:rPr>
                        <a:t>SH</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MEDITERRANEAN</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4.59%</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0.33%</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5.33%</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9.75%</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3728842306"/>
                  </a:ext>
                </a:extLst>
              </a:tr>
              <a:tr h="143796">
                <a:tc>
                  <a:txBody>
                    <a:bodyPr/>
                    <a:lstStyle/>
                    <a:p>
                      <a:pPr algn="l" fontAlgn="b"/>
                      <a:r>
                        <a:rPr lang="en-GB" sz="600" u="none" strike="noStrike">
                          <a:effectLst/>
                        </a:rPr>
                        <a:t>SH</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MIDDLE EAST OTHER</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8.34%</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0.14%</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3.62%</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7.90%</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102423898"/>
                  </a:ext>
                </a:extLst>
              </a:tr>
              <a:tr h="143796">
                <a:tc>
                  <a:txBody>
                    <a:bodyPr/>
                    <a:lstStyle/>
                    <a:p>
                      <a:pPr algn="l" fontAlgn="b"/>
                      <a:r>
                        <a:rPr lang="en-GB" sz="600" u="none" strike="noStrike">
                          <a:effectLst/>
                        </a:rPr>
                        <a:t>SH</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NORTH AFRICA</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6.1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0.28%</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3.77%</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9.85%</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2015858786"/>
                  </a:ext>
                </a:extLst>
              </a:tr>
              <a:tr h="143796">
                <a:tc>
                  <a:txBody>
                    <a:bodyPr/>
                    <a:lstStyle/>
                    <a:p>
                      <a:pPr algn="l" fontAlgn="b"/>
                      <a:r>
                        <a:rPr lang="en-GB" sz="600" u="none" strike="noStrike">
                          <a:effectLst/>
                        </a:rPr>
                        <a:t>SH</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SCANDINAVIA</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6.83%</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0.49%</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6.43%</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6.25%</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122761934"/>
                  </a:ext>
                </a:extLst>
              </a:tr>
              <a:tr h="143796">
                <a:tc>
                  <a:txBody>
                    <a:bodyPr/>
                    <a:lstStyle/>
                    <a:p>
                      <a:pPr algn="l" fontAlgn="b"/>
                      <a:r>
                        <a:rPr lang="en-GB" sz="600" u="none" strike="noStrike">
                          <a:effectLst/>
                        </a:rPr>
                        <a:t>SH</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UK</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6.81%</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0.39%</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5.34%</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17.47%</a:t>
                      </a:r>
                      <a:endParaRPr lang="en-GB" sz="600" b="0" i="0" u="none" strike="noStrike">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474785007"/>
                  </a:ext>
                </a:extLst>
              </a:tr>
              <a:tr h="143796">
                <a:tc>
                  <a:txBody>
                    <a:bodyPr/>
                    <a:lstStyle/>
                    <a:p>
                      <a:pPr algn="l" fontAlgn="b"/>
                      <a:r>
                        <a:rPr lang="en-GB" sz="600" u="none" strike="noStrike">
                          <a:effectLst/>
                        </a:rPr>
                        <a:t>SH</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WEST EUROPE</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l" fontAlgn="b"/>
                      <a:r>
                        <a:rPr lang="en-GB" sz="600" u="none" strike="noStrike">
                          <a:effectLst/>
                        </a:rPr>
                        <a:t>All</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75.82%</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0.45%</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a:effectLst/>
                        </a:rPr>
                        <a:t>6.30%</a:t>
                      </a:r>
                      <a:endParaRPr lang="en-GB" sz="600" b="0" i="0" u="none" strike="noStrike">
                        <a:solidFill>
                          <a:srgbClr val="000000"/>
                        </a:solidFill>
                        <a:effectLst/>
                        <a:latin typeface="Calibri" panose="020F0502020204030204" pitchFamily="34" charset="0"/>
                      </a:endParaRPr>
                    </a:p>
                  </a:txBody>
                  <a:tcPr marL="2608" marR="2608" marT="2608" marB="0" anchor="b"/>
                </a:tc>
                <a:tc>
                  <a:txBody>
                    <a:bodyPr/>
                    <a:lstStyle/>
                    <a:p>
                      <a:pPr algn="r" fontAlgn="b"/>
                      <a:r>
                        <a:rPr lang="en-GB" sz="600" u="none" strike="noStrike" dirty="0">
                          <a:effectLst/>
                        </a:rPr>
                        <a:t>17.43%</a:t>
                      </a:r>
                      <a:endParaRPr lang="en-GB" sz="600" b="0" i="0" u="none" strike="noStrike" dirty="0">
                        <a:solidFill>
                          <a:srgbClr val="000000"/>
                        </a:solidFill>
                        <a:effectLst/>
                        <a:latin typeface="Calibri" panose="020F0502020204030204" pitchFamily="34" charset="0"/>
                      </a:endParaRPr>
                    </a:p>
                  </a:txBody>
                  <a:tcPr marL="2608" marR="2608" marT="2608" marB="0" anchor="b"/>
                </a:tc>
                <a:extLst>
                  <a:ext uri="{0D108BD9-81ED-4DB2-BD59-A6C34878D82A}">
                    <a16:rowId xmlns:a16="http://schemas.microsoft.com/office/drawing/2014/main" val="3413086488"/>
                  </a:ext>
                </a:extLst>
              </a:tr>
            </a:tbl>
          </a:graphicData>
        </a:graphic>
      </p:graphicFrame>
      <p:graphicFrame>
        <p:nvGraphicFramePr>
          <p:cNvPr id="7" name="Table 5">
            <a:extLst>
              <a:ext uri="{FF2B5EF4-FFF2-40B4-BE49-F238E27FC236}">
                <a16:creationId xmlns:a16="http://schemas.microsoft.com/office/drawing/2014/main" id="{3C7159B7-7C5C-50B8-D4FC-A81AA67C9A20}"/>
              </a:ext>
            </a:extLst>
          </p:cNvPr>
          <p:cNvGraphicFramePr>
            <a:graphicFrameLocks/>
          </p:cNvGraphicFramePr>
          <p:nvPr>
            <p:extLst>
              <p:ext uri="{D42A27DB-BD31-4B8C-83A1-F6EECF244321}">
                <p14:modId xmlns:p14="http://schemas.microsoft.com/office/powerpoint/2010/main" val="1679405019"/>
              </p:ext>
            </p:extLst>
          </p:nvPr>
        </p:nvGraphicFramePr>
        <p:xfrm>
          <a:off x="343672" y="1439672"/>
          <a:ext cx="2887600" cy="4356862"/>
        </p:xfrm>
        <a:graphic>
          <a:graphicData uri="http://schemas.openxmlformats.org/drawingml/2006/table">
            <a:tbl>
              <a:tblPr firstRow="1" bandRow="1">
                <a:tableStyleId>{5C22544A-7EE6-4342-B048-85BDC9FD1C3A}</a:tableStyleId>
              </a:tblPr>
              <a:tblGrid>
                <a:gridCol w="1443800">
                  <a:extLst>
                    <a:ext uri="{9D8B030D-6E8A-4147-A177-3AD203B41FA5}">
                      <a16:colId xmlns:a16="http://schemas.microsoft.com/office/drawing/2014/main" val="3207973383"/>
                    </a:ext>
                  </a:extLst>
                </a:gridCol>
                <a:gridCol w="1443800">
                  <a:extLst>
                    <a:ext uri="{9D8B030D-6E8A-4147-A177-3AD203B41FA5}">
                      <a16:colId xmlns:a16="http://schemas.microsoft.com/office/drawing/2014/main" val="3449506139"/>
                    </a:ext>
                  </a:extLst>
                </a:gridCol>
              </a:tblGrid>
              <a:tr h="977872">
                <a:tc>
                  <a:txBody>
                    <a:bodyPr/>
                    <a:lstStyle/>
                    <a:p>
                      <a:pPr algn="ctr"/>
                      <a:r>
                        <a:rPr lang="en-GB"/>
                        <a:t>LONG HAUL</a:t>
                      </a:r>
                    </a:p>
                  </a:txBody>
                  <a:tcPr anchor="ctr"/>
                </a:tc>
                <a:tc>
                  <a:txBody>
                    <a:bodyPr/>
                    <a:lstStyle/>
                    <a:p>
                      <a:pPr algn="ctr"/>
                      <a:r>
                        <a:rPr lang="en-GB"/>
                        <a:t>SHORT HAUL</a:t>
                      </a:r>
                    </a:p>
                  </a:txBody>
                  <a:tcPr anchor="ctr"/>
                </a:tc>
                <a:extLst>
                  <a:ext uri="{0D108BD9-81ED-4DB2-BD59-A6C34878D82A}">
                    <a16:rowId xmlns:a16="http://schemas.microsoft.com/office/drawing/2014/main" val="3047826424"/>
                  </a:ext>
                </a:extLst>
              </a:tr>
              <a:tr h="977872">
                <a:tc gridSpan="2">
                  <a:txBody>
                    <a:bodyPr/>
                    <a:lstStyle/>
                    <a:p>
                      <a:pPr algn="ctr"/>
                      <a:r>
                        <a:rPr lang="en-GB" dirty="0"/>
                        <a:t>Defined by cabin selling class</a:t>
                      </a:r>
                    </a:p>
                  </a:txBody>
                  <a:tcPr anchor="ctr"/>
                </a:tc>
                <a:tc hMerge="1">
                  <a:txBody>
                    <a:bodyPr/>
                    <a:lstStyle/>
                    <a:p>
                      <a:endParaRPr lang="en-GB" dirty="0"/>
                    </a:p>
                  </a:txBody>
                  <a:tcPr/>
                </a:tc>
                <a:extLst>
                  <a:ext uri="{0D108BD9-81ED-4DB2-BD59-A6C34878D82A}">
                    <a16:rowId xmlns:a16="http://schemas.microsoft.com/office/drawing/2014/main" val="4119928099"/>
                  </a:ext>
                </a:extLst>
              </a:tr>
              <a:tr h="783166">
                <a:tc>
                  <a:txBody>
                    <a:bodyPr/>
                    <a:lstStyle/>
                    <a:p>
                      <a:pPr algn="ctr"/>
                      <a:r>
                        <a:rPr lang="en-GB"/>
                        <a:t>Number of First seats</a:t>
                      </a:r>
                    </a:p>
                  </a:txBody>
                  <a:tcPr anchor="ctr"/>
                </a:tc>
                <a:tc rowSpan="2">
                  <a:txBody>
                    <a:bodyPr/>
                    <a:lstStyle/>
                    <a:p>
                      <a:pPr lvl="0" algn="ctr">
                        <a:buNone/>
                      </a:pPr>
                      <a:r>
                        <a:rPr lang="en-GB"/>
                        <a:t>Country Group</a:t>
                      </a:r>
                      <a:endParaRPr lang="en-US"/>
                    </a:p>
                  </a:txBody>
                  <a:tcPr anchor="ctr"/>
                </a:tc>
                <a:extLst>
                  <a:ext uri="{0D108BD9-81ED-4DB2-BD59-A6C34878D82A}">
                    <a16:rowId xmlns:a16="http://schemas.microsoft.com/office/drawing/2014/main" val="1280023213"/>
                  </a:ext>
                </a:extLst>
              </a:tr>
              <a:tr h="566545">
                <a:tc>
                  <a:txBody>
                    <a:bodyPr/>
                    <a:lstStyle/>
                    <a:p>
                      <a:pPr algn="ctr"/>
                      <a:r>
                        <a:rPr lang="en-GB"/>
                        <a:t>Continent</a:t>
                      </a:r>
                      <a:br>
                        <a:rPr lang="en-GB"/>
                      </a:br>
                      <a:r>
                        <a:rPr lang="en-GB"/>
                        <a:t>(exc. N Am.)</a:t>
                      </a:r>
                    </a:p>
                  </a:txBody>
                  <a:tcPr anchor="ctr"/>
                </a:tc>
                <a:tc vMerge="1">
                  <a:txBody>
                    <a:bodyPr/>
                    <a:lstStyle/>
                    <a:p>
                      <a:endParaRPr lang="en-GB"/>
                    </a:p>
                  </a:txBody>
                  <a:tcPr/>
                </a:tc>
                <a:extLst>
                  <a:ext uri="{0D108BD9-81ED-4DB2-BD59-A6C34878D82A}">
                    <a16:rowId xmlns:a16="http://schemas.microsoft.com/office/drawing/2014/main" val="887389158"/>
                  </a:ext>
                </a:extLst>
              </a:tr>
              <a:tr h="977872">
                <a:tc gridSpan="2">
                  <a:txBody>
                    <a:bodyPr/>
                    <a:lstStyle/>
                    <a:p>
                      <a:pPr algn="ctr"/>
                      <a:r>
                        <a:rPr lang="en-GB"/>
                        <a:t>Eligibility %</a:t>
                      </a:r>
                    </a:p>
                  </a:txBody>
                  <a:tcPr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dirty="0"/>
                    </a:p>
                  </a:txBody>
                  <a:tcPr/>
                </a:tc>
                <a:extLst>
                  <a:ext uri="{0D108BD9-81ED-4DB2-BD59-A6C34878D82A}">
                    <a16:rowId xmlns:a16="http://schemas.microsoft.com/office/drawing/2014/main" val="233071687"/>
                  </a:ext>
                </a:extLst>
              </a:tr>
            </a:tbl>
          </a:graphicData>
        </a:graphic>
      </p:graphicFrame>
      <p:cxnSp>
        <p:nvCxnSpPr>
          <p:cNvPr id="5" name="Straight Connector 4">
            <a:extLst>
              <a:ext uri="{FF2B5EF4-FFF2-40B4-BE49-F238E27FC236}">
                <a16:creationId xmlns:a16="http://schemas.microsoft.com/office/drawing/2014/main" id="{3A3ABAD4-FA3B-A272-64E9-3215425582FA}"/>
              </a:ext>
            </a:extLst>
          </p:cNvPr>
          <p:cNvCxnSpPr>
            <a:cxnSpLocks/>
          </p:cNvCxnSpPr>
          <p:nvPr/>
        </p:nvCxnSpPr>
        <p:spPr>
          <a:xfrm>
            <a:off x="3564835" y="5300869"/>
            <a:ext cx="8627165"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0977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6505FB-8EB9-E8AE-CB9E-6A1C1D1E99ED}"/>
              </a:ext>
            </a:extLst>
          </p:cNvPr>
          <p:cNvSpPr>
            <a:spLocks noGrp="1"/>
          </p:cNvSpPr>
          <p:nvPr>
            <p:ph type="ctrTitle"/>
          </p:nvPr>
        </p:nvSpPr>
        <p:spPr/>
        <p:txBody>
          <a:bodyPr lIns="91440" tIns="45720" rIns="91440" bIns="45720" anchor="ctr">
            <a:normAutofit/>
          </a:bodyPr>
          <a:lstStyle/>
          <a:p>
            <a:r>
              <a:rPr lang="en-US" dirty="0">
                <a:latin typeface="Mylius Modern"/>
              </a:rPr>
              <a:t>Reasoning</a:t>
            </a:r>
            <a:endParaRPr lang="en-US" dirty="0"/>
          </a:p>
        </p:txBody>
      </p:sp>
      <p:sp>
        <p:nvSpPr>
          <p:cNvPr id="3" name="Subtitle 2">
            <a:extLst>
              <a:ext uri="{FF2B5EF4-FFF2-40B4-BE49-F238E27FC236}">
                <a16:creationId xmlns:a16="http://schemas.microsoft.com/office/drawing/2014/main" id="{1E2D5003-E176-AFE6-2291-C0E695DDF099}"/>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364417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4D8FB1A-5251-492A-16DD-9C0A862D51BC}"/>
              </a:ext>
            </a:extLst>
          </p:cNvPr>
          <p:cNvSpPr>
            <a:spLocks noGrp="1"/>
          </p:cNvSpPr>
          <p:nvPr>
            <p:ph type="title"/>
          </p:nvPr>
        </p:nvSpPr>
        <p:spPr/>
        <p:txBody>
          <a:bodyPr/>
          <a:lstStyle/>
          <a:p>
            <a:r>
              <a:rPr lang="en-GB"/>
              <a:t>OUR ANALYSIS: Terminal 3 &amp; Terminal 5</a:t>
            </a:r>
          </a:p>
        </p:txBody>
      </p:sp>
      <p:pic>
        <p:nvPicPr>
          <p:cNvPr id="9" name="Picture 8" descr="A graph of passengers per continent by terminal&#10;&#10;Description automatically generated">
            <a:extLst>
              <a:ext uri="{FF2B5EF4-FFF2-40B4-BE49-F238E27FC236}">
                <a16:creationId xmlns:a16="http://schemas.microsoft.com/office/drawing/2014/main" id="{CD29E778-865B-5CC8-AE28-54A524D5B38F}"/>
              </a:ext>
            </a:extLst>
          </p:cNvPr>
          <p:cNvPicPr>
            <a:picLocks noChangeAspect="1"/>
          </p:cNvPicPr>
          <p:nvPr/>
        </p:nvPicPr>
        <p:blipFill>
          <a:blip r:embed="rId3"/>
          <a:stretch>
            <a:fillRect/>
          </a:stretch>
        </p:blipFill>
        <p:spPr>
          <a:xfrm>
            <a:off x="8398128" y="3341566"/>
            <a:ext cx="3164394" cy="3272045"/>
          </a:xfrm>
          <a:prstGeom prst="rect">
            <a:avLst/>
          </a:prstGeom>
        </p:spPr>
      </p:pic>
      <p:pic>
        <p:nvPicPr>
          <p:cNvPr id="2" name="Picture 1" descr="A graph with numbers and a line&#10;&#10;Description automatically generated">
            <a:extLst>
              <a:ext uri="{FF2B5EF4-FFF2-40B4-BE49-F238E27FC236}">
                <a16:creationId xmlns:a16="http://schemas.microsoft.com/office/drawing/2014/main" id="{CF8F6550-8921-9A61-E528-FE72CCBD46EA}"/>
              </a:ext>
            </a:extLst>
          </p:cNvPr>
          <p:cNvPicPr>
            <a:picLocks noChangeAspect="1"/>
          </p:cNvPicPr>
          <p:nvPr/>
        </p:nvPicPr>
        <p:blipFill>
          <a:blip r:embed="rId4"/>
          <a:stretch>
            <a:fillRect/>
          </a:stretch>
        </p:blipFill>
        <p:spPr>
          <a:xfrm>
            <a:off x="278296" y="2225311"/>
            <a:ext cx="7467600" cy="1093064"/>
          </a:xfrm>
          <a:prstGeom prst="rect">
            <a:avLst/>
          </a:prstGeom>
        </p:spPr>
      </p:pic>
      <p:sp>
        <p:nvSpPr>
          <p:cNvPr id="3" name="TextBox 2">
            <a:extLst>
              <a:ext uri="{FF2B5EF4-FFF2-40B4-BE49-F238E27FC236}">
                <a16:creationId xmlns:a16="http://schemas.microsoft.com/office/drawing/2014/main" id="{BBE94EB1-8030-147D-C844-4F5C98A4FA1F}"/>
              </a:ext>
            </a:extLst>
          </p:cNvPr>
          <p:cNvSpPr txBox="1"/>
          <p:nvPr/>
        </p:nvSpPr>
        <p:spPr>
          <a:xfrm>
            <a:off x="7931426" y="1530626"/>
            <a:ext cx="3916902" cy="369332"/>
          </a:xfrm>
          <a:prstGeom prst="rect">
            <a:avLst/>
          </a:prstGeom>
          <a:noFill/>
        </p:spPr>
        <p:txBody>
          <a:bodyPr wrap="square" rtlCol="0">
            <a:spAutoFit/>
          </a:bodyPr>
          <a:lstStyle/>
          <a:p>
            <a:pPr marL="285750" indent="-285750">
              <a:buFont typeface="Arial" panose="020B0604020202020204" pitchFamily="34" charset="0"/>
              <a:buChar char="•"/>
            </a:pPr>
            <a:endParaRPr lang="en-GB" dirty="0"/>
          </a:p>
        </p:txBody>
      </p:sp>
      <p:sp>
        <p:nvSpPr>
          <p:cNvPr id="4" name="TextBox 3">
            <a:extLst>
              <a:ext uri="{FF2B5EF4-FFF2-40B4-BE49-F238E27FC236}">
                <a16:creationId xmlns:a16="http://schemas.microsoft.com/office/drawing/2014/main" id="{FD5AB1BA-C7AB-A53B-FAED-E0207E653DEF}"/>
              </a:ext>
            </a:extLst>
          </p:cNvPr>
          <p:cNvSpPr txBox="1"/>
          <p:nvPr/>
        </p:nvSpPr>
        <p:spPr>
          <a:xfrm>
            <a:off x="8143461" y="1669774"/>
            <a:ext cx="3624469" cy="1200329"/>
          </a:xfrm>
          <a:prstGeom prst="rect">
            <a:avLst/>
          </a:prstGeom>
          <a:noFill/>
        </p:spPr>
        <p:txBody>
          <a:bodyPr wrap="square" rtlCol="0">
            <a:spAutoFit/>
          </a:bodyPr>
          <a:lstStyle/>
          <a:p>
            <a:pPr marL="285750" indent="-285750">
              <a:buFont typeface="Arial" panose="020B0604020202020204" pitchFamily="34" charset="0"/>
              <a:buChar char="•"/>
            </a:pPr>
            <a:r>
              <a:rPr lang="en-GB" dirty="0"/>
              <a:t>Lounge eligibility profiles are similar in T3 and T5.</a:t>
            </a:r>
          </a:p>
          <a:p>
            <a:pPr marL="285750" indent="-285750">
              <a:buFont typeface="Arial" panose="020B0604020202020204" pitchFamily="34" charset="0"/>
              <a:buChar char="•"/>
            </a:pPr>
            <a:r>
              <a:rPr lang="en-GB"/>
              <a:t>Terminal 3 has a slightly less premium customer base</a:t>
            </a:r>
            <a:endParaRPr lang="en-GB" dirty="0"/>
          </a:p>
        </p:txBody>
      </p:sp>
      <p:pic>
        <p:nvPicPr>
          <p:cNvPr id="6" name="Picture 5" descr="A blue and white text&#10;&#10;Description automatically generated">
            <a:extLst>
              <a:ext uri="{FF2B5EF4-FFF2-40B4-BE49-F238E27FC236}">
                <a16:creationId xmlns:a16="http://schemas.microsoft.com/office/drawing/2014/main" id="{26E17650-0C7E-7B02-0185-00B73F4A8B62}"/>
              </a:ext>
            </a:extLst>
          </p:cNvPr>
          <p:cNvPicPr>
            <a:picLocks noChangeAspect="1"/>
          </p:cNvPicPr>
          <p:nvPr/>
        </p:nvPicPr>
        <p:blipFill rotWithShape="1">
          <a:blip r:embed="rId5"/>
          <a:srcRect b="-35015"/>
          <a:stretch/>
        </p:blipFill>
        <p:spPr>
          <a:xfrm>
            <a:off x="343672" y="1222981"/>
            <a:ext cx="7236571" cy="1329387"/>
          </a:xfrm>
          <a:prstGeom prst="rect">
            <a:avLst/>
          </a:prstGeom>
        </p:spPr>
      </p:pic>
      <p:pic>
        <p:nvPicPr>
          <p:cNvPr id="7" name="Picture 6" descr="A map of the world&#10;&#10;Description automatically generated">
            <a:extLst>
              <a:ext uri="{FF2B5EF4-FFF2-40B4-BE49-F238E27FC236}">
                <a16:creationId xmlns:a16="http://schemas.microsoft.com/office/drawing/2014/main" id="{E8196E80-621A-D661-E5C4-A11F89CCC8DB}"/>
              </a:ext>
            </a:extLst>
          </p:cNvPr>
          <p:cNvPicPr>
            <a:picLocks noChangeAspect="1"/>
          </p:cNvPicPr>
          <p:nvPr/>
        </p:nvPicPr>
        <p:blipFill rotWithShape="1">
          <a:blip r:embed="rId6"/>
          <a:srcRect r="15982"/>
          <a:stretch/>
        </p:blipFill>
        <p:spPr>
          <a:xfrm>
            <a:off x="434673" y="3429000"/>
            <a:ext cx="3966152" cy="3229305"/>
          </a:xfrm>
          <a:prstGeom prst="rect">
            <a:avLst/>
          </a:prstGeom>
        </p:spPr>
      </p:pic>
    </p:spTree>
    <p:extLst>
      <p:ext uri="{BB962C8B-B14F-4D97-AF65-F5344CB8AC3E}">
        <p14:creationId xmlns:p14="http://schemas.microsoft.com/office/powerpoint/2010/main" val="26115104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8D4DA9C-A75A-8BA1-7D52-950F7DD3AE4F}"/>
              </a:ext>
            </a:extLst>
          </p:cNvPr>
          <p:cNvSpPr>
            <a:spLocks noGrp="1"/>
          </p:cNvSpPr>
          <p:nvPr>
            <p:ph idx="14"/>
          </p:nvPr>
        </p:nvSpPr>
        <p:spPr/>
        <p:txBody>
          <a:bodyPr lIns="91440" tIns="45720" rIns="91440" bIns="45720" anchor="t"/>
          <a:lstStyle/>
          <a:p>
            <a:pPr marL="285750" indent="-285750">
              <a:buChar char="•"/>
            </a:pPr>
            <a:r>
              <a:rPr lang="en-US" b="0" dirty="0">
                <a:latin typeface="Mylius Modern"/>
              </a:rPr>
              <a:t>2019 shows the data before the age of video </a:t>
            </a:r>
            <a:r>
              <a:rPr lang="en-US" b="0">
                <a:latin typeface="Mylius Modern"/>
              </a:rPr>
              <a:t>conference</a:t>
            </a:r>
            <a:r>
              <a:rPr lang="en-US" b="0" dirty="0">
                <a:latin typeface="Mylius Modern"/>
              </a:rPr>
              <a:t>/COVID and 2023 shows the latter</a:t>
            </a:r>
          </a:p>
          <a:p>
            <a:pPr marL="285750" indent="-285750">
              <a:buChar char="•"/>
            </a:pPr>
            <a:r>
              <a:rPr lang="en-US" b="0" dirty="0">
                <a:latin typeface="Mylius Modern"/>
              </a:rPr>
              <a:t>Asia market heavily affected by flying ban</a:t>
            </a:r>
          </a:p>
          <a:p>
            <a:pPr marL="285750" indent="-285750">
              <a:buChar char="•"/>
            </a:pPr>
            <a:r>
              <a:rPr lang="en-US" b="0" dirty="0">
                <a:latin typeface="Mylius Modern"/>
              </a:rPr>
              <a:t>Expecting the return of business customers post COVID</a:t>
            </a:r>
            <a:endParaRPr lang="en-US" b="0" dirty="0"/>
          </a:p>
        </p:txBody>
      </p:sp>
      <p:sp>
        <p:nvSpPr>
          <p:cNvPr id="2" name="Title 1">
            <a:extLst>
              <a:ext uri="{FF2B5EF4-FFF2-40B4-BE49-F238E27FC236}">
                <a16:creationId xmlns:a16="http://schemas.microsoft.com/office/drawing/2014/main" id="{67319747-7DAA-CAD1-6B1B-2A0B8EF75625}"/>
              </a:ext>
            </a:extLst>
          </p:cNvPr>
          <p:cNvSpPr>
            <a:spLocks noGrp="1"/>
          </p:cNvSpPr>
          <p:nvPr>
            <p:ph type="title"/>
          </p:nvPr>
        </p:nvSpPr>
        <p:spPr/>
        <p:txBody>
          <a:bodyPr lIns="91440" tIns="45720" rIns="91440" bIns="45720" anchor="t"/>
          <a:lstStyle/>
          <a:p>
            <a:r>
              <a:rPr lang="en-US">
                <a:latin typeface="Mylius Modern"/>
              </a:rPr>
              <a:t>WHY COMBINE 2019 AND 2023? </a:t>
            </a:r>
            <a:endParaRPr lang="en-US"/>
          </a:p>
        </p:txBody>
      </p:sp>
      <p:pic>
        <p:nvPicPr>
          <p:cNvPr id="6" name="Picture 5" descr="A blue and white line&#10;&#10;Description automatically generated">
            <a:extLst>
              <a:ext uri="{FF2B5EF4-FFF2-40B4-BE49-F238E27FC236}">
                <a16:creationId xmlns:a16="http://schemas.microsoft.com/office/drawing/2014/main" id="{AD7AD7E3-6059-C69F-F26D-ED97FF52CCC1}"/>
              </a:ext>
            </a:extLst>
          </p:cNvPr>
          <p:cNvPicPr>
            <a:picLocks noChangeAspect="1"/>
          </p:cNvPicPr>
          <p:nvPr/>
        </p:nvPicPr>
        <p:blipFill>
          <a:blip r:embed="rId3"/>
          <a:stretch>
            <a:fillRect/>
          </a:stretch>
        </p:blipFill>
        <p:spPr>
          <a:xfrm>
            <a:off x="990049" y="3445458"/>
            <a:ext cx="10306580" cy="1454225"/>
          </a:xfrm>
          <a:prstGeom prst="rect">
            <a:avLst/>
          </a:prstGeom>
          <a:ln>
            <a:noFill/>
          </a:ln>
          <a:effectLst>
            <a:outerShdw blurRad="292100" dist="139700" dir="2700000" algn="tl" rotWithShape="0">
              <a:srgbClr val="333333">
                <a:alpha val="65000"/>
              </a:srgbClr>
            </a:outerShdw>
          </a:effectLst>
        </p:spPr>
      </p:pic>
      <p:pic>
        <p:nvPicPr>
          <p:cNvPr id="8" name="Picture 7" descr="A blue and white striped background&#10;&#10;Description automatically generated with medium confidence">
            <a:extLst>
              <a:ext uri="{FF2B5EF4-FFF2-40B4-BE49-F238E27FC236}">
                <a16:creationId xmlns:a16="http://schemas.microsoft.com/office/drawing/2014/main" id="{5EAEA131-D25A-0ACF-A56C-1DAC0E5F5EFE}"/>
              </a:ext>
            </a:extLst>
          </p:cNvPr>
          <p:cNvPicPr>
            <a:picLocks noChangeAspect="1"/>
          </p:cNvPicPr>
          <p:nvPr/>
        </p:nvPicPr>
        <p:blipFill>
          <a:blip r:embed="rId4"/>
          <a:stretch>
            <a:fillRect/>
          </a:stretch>
        </p:blipFill>
        <p:spPr>
          <a:xfrm>
            <a:off x="990049" y="4954871"/>
            <a:ext cx="10306580" cy="145422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7415675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IN TITLE ">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4D8F252-7FAA-4D57-B89A-58D22CC72581}" vid="{E92B30DF-7F70-4E3B-9D1E-50E93E6F3A36}"/>
    </a:ext>
  </a:extLst>
</a:theme>
</file>

<file path=ppt/theme/theme2.xml><?xml version="1.0" encoding="utf-8"?>
<a:theme xmlns:a="http://schemas.openxmlformats.org/drawingml/2006/main" name="SECTION HEADING 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4D8F252-7FAA-4D57-B89A-58D22CC72581}" vid="{2E996A88-B93E-4269-9ED4-B822ACE2D8CB}"/>
    </a:ext>
  </a:extLst>
</a:theme>
</file>

<file path=ppt/theme/theme3.xml><?xml version="1.0" encoding="utf-8"?>
<a:theme xmlns:a="http://schemas.openxmlformats.org/drawingml/2006/main" name="INSPIRATION QUOT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4D8F252-7FAA-4D57-B89A-58D22CC72581}" vid="{F7BE86FB-EF52-4A29-9207-32D0D102AAA4}"/>
    </a:ext>
  </a:extLst>
</a:theme>
</file>

<file path=ppt/theme/theme4.xml><?xml version="1.0" encoding="utf-8"?>
<a:theme xmlns:a="http://schemas.openxmlformats.org/drawingml/2006/main" name="BODY CONTENT">
  <a:themeElements>
    <a:clrScheme name="A Better BA - 2023">
      <a:dk1>
        <a:srgbClr val="44546A"/>
      </a:dk1>
      <a:lt1>
        <a:sysClr val="window" lastClr="FFFFFF"/>
      </a:lt1>
      <a:dk2>
        <a:srgbClr val="44546A"/>
      </a:dk2>
      <a:lt2>
        <a:srgbClr val="E7E6E6"/>
      </a:lt2>
      <a:accent1>
        <a:srgbClr val="0C5474"/>
      </a:accent1>
      <a:accent2>
        <a:srgbClr val="E47874"/>
      </a:accent2>
      <a:accent3>
        <a:srgbClr val="ADD1D7"/>
      </a:accent3>
      <a:accent4>
        <a:srgbClr val="BCCFEC"/>
      </a:accent4>
      <a:accent5>
        <a:srgbClr val="BEB3B2"/>
      </a:accent5>
      <a:accent6>
        <a:srgbClr val="C5E0B3"/>
      </a:accent6>
      <a:hlink>
        <a:srgbClr val="0563C1"/>
      </a:hlink>
      <a:folHlink>
        <a:srgbClr val="954F72"/>
      </a:folHlink>
    </a:clrScheme>
    <a:fontScheme name="Mylius">
      <a:majorFont>
        <a:latin typeface="Mylius Modern"/>
        <a:ea typeface=""/>
        <a:cs typeface=""/>
      </a:majorFont>
      <a:minorFont>
        <a:latin typeface="Mylius Modern"/>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4D8F252-7FAA-4D57-B89A-58D22CC72581}" vid="{6016CD89-96B3-4675-9468-58DF09B75AA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121a835-207a-4b3a-a9dc-79879ba56298">
      <Terms xmlns="http://schemas.microsoft.com/office/infopath/2007/PartnerControls"/>
    </lcf76f155ced4ddcb4097134ff3c332f>
    <TaxCatchAll xmlns="dc8ba521-0e5f-4c01-9506-92b6f9dc08ae" xsi:nil="true"/>
    <Preview xmlns="2121a835-207a-4b3a-a9dc-79879ba56298"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76EA011FC13384BA0DB0819F1E94F31" ma:contentTypeVersion="17" ma:contentTypeDescription="Create a new document." ma:contentTypeScope="" ma:versionID="865974177c0786a5e0aeb28ba8a83942">
  <xsd:schema xmlns:xsd="http://www.w3.org/2001/XMLSchema" xmlns:xs="http://www.w3.org/2001/XMLSchema" xmlns:p="http://schemas.microsoft.com/office/2006/metadata/properties" xmlns:ns2="2121a835-207a-4b3a-a9dc-79879ba56298" xmlns:ns3="dc8ba521-0e5f-4c01-9506-92b6f9dc08ae" targetNamespace="http://schemas.microsoft.com/office/2006/metadata/properties" ma:root="true" ma:fieldsID="f96a11d08c8c87e85de6f54483b69506" ns2:_="" ns3:_="">
    <xsd:import namespace="2121a835-207a-4b3a-a9dc-79879ba56298"/>
    <xsd:import namespace="dc8ba521-0e5f-4c01-9506-92b6f9dc08a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lcf76f155ced4ddcb4097134ff3c332f" minOccurs="0"/>
                <xsd:element ref="ns3:TaxCatchAll" minOccurs="0"/>
                <xsd:element ref="ns2:MediaLengthInSeconds" minOccurs="0"/>
                <xsd:element ref="ns2:Preview"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21a835-207a-4b3a-a9dc-79879ba562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1ed53f62-8f16-480b-a008-b745ebcc5850" ma:termSetId="09814cd3-568e-fe90-9814-8d621ff8fb84" ma:anchorId="fba54fb3-c3e1-fe81-a776-ca4b69148c4d" ma:open="true" ma:isKeyword="false">
      <xsd:complexType>
        <xsd:sequence>
          <xsd:element ref="pc:Terms" minOccurs="0" maxOccurs="1"/>
        </xsd:sequence>
      </xsd:complexType>
    </xsd:element>
    <xsd:element name="MediaLengthInSeconds" ma:index="22" nillable="true" ma:displayName="MediaLengthInSeconds" ma:hidden="true" ma:internalName="MediaLengthInSeconds" ma:readOnly="true">
      <xsd:simpleType>
        <xsd:restriction base="dms:Unknown"/>
      </xsd:simpleType>
    </xsd:element>
    <xsd:element name="Preview" ma:index="23" nillable="true" ma:displayName="Preview" ma:internalName="Preview">
      <xsd:simpleType>
        <xsd:restriction base="dms:Unknow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c8ba521-0e5f-4c01-9506-92b6f9dc08a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371e4468-4cad-49b3-b601-3b3437c89241}" ma:internalName="TaxCatchAll" ma:showField="CatchAllData" ma:web="dc8ba521-0e5f-4c01-9506-92b6f9dc08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B4F287C-BD1C-4ABE-8D2B-7746F70F12B5}">
  <ds:schemaRefs>
    <ds:schemaRef ds:uri="2121a835-207a-4b3a-a9dc-79879ba56298"/>
    <ds:schemaRef ds:uri="dc8ba521-0e5f-4c01-9506-92b6f9dc08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3157FE0-3589-42D3-9D24-7AE8AD6BBB7E}">
  <ds:schemaRefs>
    <ds:schemaRef ds:uri="http://schemas.microsoft.com/sharepoint/v3/contenttype/forms"/>
  </ds:schemaRefs>
</ds:datastoreItem>
</file>

<file path=customXml/itemProps3.xml><?xml version="1.0" encoding="utf-8"?>
<ds:datastoreItem xmlns:ds="http://schemas.openxmlformats.org/officeDocument/2006/customXml" ds:itemID="{A55F360A-C560-4217-A06A-67ACD0CC6DF2}">
  <ds:schemaRefs>
    <ds:schemaRef ds:uri="2121a835-207a-4b3a-a9dc-79879ba56298"/>
    <ds:schemaRef ds:uri="dc8ba521-0e5f-4c01-9506-92b6f9dc08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819</Words>
  <Application>Microsoft Office PowerPoint</Application>
  <PresentationFormat>Widescreen</PresentationFormat>
  <Paragraphs>454</Paragraphs>
  <Slides>17</Slides>
  <Notes>16</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7</vt:i4>
      </vt:variant>
    </vt:vector>
  </HeadingPairs>
  <TitlesOfParts>
    <vt:vector size="28" baseType="lpstr">
      <vt:lpstr>Mylius Modern</vt:lpstr>
      <vt:lpstr>Mylius Modern Extra Light</vt:lpstr>
      <vt:lpstr>Calibri</vt:lpstr>
      <vt:lpstr>Arial</vt:lpstr>
      <vt:lpstr>Arial,Sans-Serif</vt:lpstr>
      <vt:lpstr>Mylius Modern Light</vt:lpstr>
      <vt:lpstr>MAIN TITLE </vt:lpstr>
      <vt:lpstr>SECTION HEADING SLIDES</vt:lpstr>
      <vt:lpstr>INSPIRATION QUOTES</vt:lpstr>
      <vt:lpstr>BODY CONTENT</vt:lpstr>
      <vt:lpstr>think-cell Slide</vt:lpstr>
      <vt:lpstr>TERMINAL 3 LOUNGE ELIGIBILITY  PROPOSALS AND INSIGHTS</vt:lpstr>
      <vt:lpstr>STRUCTURE</vt:lpstr>
      <vt:lpstr>Assumptions</vt:lpstr>
      <vt:lpstr>Assumptions</vt:lpstr>
      <vt:lpstr>Our Proposal</vt:lpstr>
      <vt:lpstr>Lookup Table</vt:lpstr>
      <vt:lpstr>Reasoning</vt:lpstr>
      <vt:lpstr>OUR ANALYSIS: Terminal 3 &amp; Terminal 5</vt:lpstr>
      <vt:lpstr>WHY COMBINE 2019 AND 2023? </vt:lpstr>
      <vt:lpstr>WHY INCLUDE THE BREAKDOWN BY FIRST SEATS?</vt:lpstr>
      <vt:lpstr>WHY BREAKDOWN BY CONTINENT (LH) AND COUNTRY GROUP (SH, NORTH AMERICA)</vt:lpstr>
      <vt:lpstr>Design Limitations  &amp; Further Exploration  </vt:lpstr>
      <vt:lpstr>Limitations and Further Exploration</vt:lpstr>
      <vt:lpstr>Should a tier 1 lounge be built in terminal 3?</vt:lpstr>
      <vt:lpstr>Recommendations: Tier 1 Lounge in Terminal 3?</vt:lpstr>
      <vt:lpstr>Did you know?</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 INSPIRING MAIN TITLE GOES HERE</dc:title>
  <dc:creator>Jamie Scragg</dc:creator>
  <cp:lastModifiedBy>Jamie Scragg</cp:lastModifiedBy>
  <cp:revision>1</cp:revision>
  <dcterms:created xsi:type="dcterms:W3CDTF">2023-10-31T13:39:30Z</dcterms:created>
  <dcterms:modified xsi:type="dcterms:W3CDTF">2023-11-08T14:35: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176EA011FC13384BA0DB0819F1E94F31</vt:lpwstr>
  </property>
</Properties>
</file>